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Base Price Bracket" id="{3B8495DC-0FFC-47A3-B26A-AA41F849777E}">
          <p14:sldIdLst>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103" d="100"/>
          <a:sy n="103" d="100"/>
        </p:scale>
        <p:origin x="293" y="77"/>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1027</c:v>
                </c:pt>
                <c:pt idx="1">
                  <c:v>6.7199999999999996E-2</c:v>
                </c:pt>
                <c:pt idx="2">
                  <c:v>3.49E-2</c:v>
                </c:pt>
                <c:pt idx="3">
                  <c:v>0.13039999999999999</c:v>
                </c:pt>
                <c:pt idx="4">
                  <c:v>0.29199999999999998</c:v>
                </c:pt>
                <c:pt idx="5">
                  <c:v>0.1293</c:v>
                </c:pt>
                <c:pt idx="6">
                  <c:v>0.1211</c:v>
                </c:pt>
                <c:pt idx="7">
                  <c:v>9.9299999999999999E-2</c:v>
                </c:pt>
                <c:pt idx="8">
                  <c:v>2.30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2.5999999999999999E-3</c:v>
                </c:pt>
                <c:pt idx="4">
                  <c:v>0.3574</c:v>
                </c:pt>
                <c:pt idx="5">
                  <c:v>0.30980000000000002</c:v>
                </c:pt>
                <c:pt idx="6">
                  <c:v>0.32269999999999999</c:v>
                </c:pt>
                <c:pt idx="7">
                  <c:v>7.6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4">
                  <c:v>0.59599999999999997</c:v>
                </c:pt>
                <c:pt idx="5">
                  <c:v>3.5999999999999997E-2</c:v>
                </c:pt>
                <c:pt idx="6">
                  <c:v>0.367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1.5544039962682176E-2</c:v>
                </c:pt>
                <c:pt idx="4">
                  <c:v>0.20572559592081768</c:v>
                </c:pt>
                <c:pt idx="5">
                  <c:v>0.11099175425848956</c:v>
                </c:pt>
                <c:pt idx="6">
                  <c:v>0.40694527433086763</c:v>
                </c:pt>
                <c:pt idx="7">
                  <c:v>0.17318895480238086</c:v>
                </c:pt>
                <c:pt idx="8">
                  <c:v>8.760408103536393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Yopr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3">
                  <c:v>3.2553760875306823E-5</c:v>
                </c:pt>
                <c:pt idx="4">
                  <c:v>0.15838107687216624</c:v>
                </c:pt>
                <c:pt idx="5">
                  <c:v>9.5575194673550405E-3</c:v>
                </c:pt>
                <c:pt idx="6">
                  <c:v>9.778221978513693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3">
                  <c:v>6.4351305502585799E-3</c:v>
                </c:pt>
                <c:pt idx="4">
                  <c:v>4.0233751237295778E-2</c:v>
                </c:pt>
                <c:pt idx="5">
                  <c:v>2.373789774605227E-3</c:v>
                </c:pt>
                <c:pt idx="6">
                  <c:v>0.10780524429724478</c:v>
                </c:pt>
                <c:pt idx="7">
                  <c:v>0.15610831988591622</c:v>
                </c:pt>
                <c:pt idx="8">
                  <c:v>7.174910083503081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Danone</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3">
                  <c:v>4.8870599899381777E-4</c:v>
                </c:pt>
                <c:pt idx="4">
                  <c:v>1.4534935810838949E-5</c:v>
                </c:pt>
                <c:pt idx="5">
                  <c:v>7.3609647541167736E-2</c:v>
                </c:pt>
                <c:pt idx="6">
                  <c:v>7.9700709688220253E-2</c:v>
                </c:pt>
                <c:pt idx="7">
                  <c:v>4.6244571547990516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Valio Profeel</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6">
                  <c:v>7.537469322575715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3">
                  <c:v>8.5876496525544715E-3</c:v>
                </c:pt>
                <c:pt idx="4">
                  <c:v>7.0962328755448745E-3</c:v>
                </c:pt>
                <c:pt idx="5">
                  <c:v>2.5450797475361567E-2</c:v>
                </c:pt>
                <c:pt idx="6">
                  <c:v>4.6282407334508426E-2</c:v>
                </c:pt>
                <c:pt idx="7">
                  <c:v>1.6618189200984734E-2</c:v>
                </c:pt>
                <c:pt idx="8">
                  <c:v>1.585498020033312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4">
                  <c:v>0.66949999999999998</c:v>
                </c:pt>
                <c:pt idx="5">
                  <c:v>3.3399999999999999E-2</c:v>
                </c:pt>
                <c:pt idx="6">
                  <c:v>0.2969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4">
                  <c:v>0.18019944209664757</c:v>
                </c:pt>
                <c:pt idx="5">
                  <c:v>0.16865547690543098</c:v>
                </c:pt>
                <c:pt idx="6">
                  <c:v>0.60852453708284127</c:v>
                </c:pt>
                <c:pt idx="7">
                  <c:v>1.8159912592571652E-2</c:v>
                </c:pt>
                <c:pt idx="8">
                  <c:v>2.446063132250848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Yopr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4">
                  <c:v>0.18019944209664757</c:v>
                </c:pt>
                <c:pt idx="5">
                  <c:v>8.9947246310518227E-3</c:v>
                </c:pt>
                <c:pt idx="6">
                  <c:v>7.994601709001962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Danone</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5">
                  <c:v>9.7048457413934225E-2</c:v>
                </c:pt>
                <c:pt idx="6">
                  <c:v>0.2097174377562571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Valio Profeel</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6">
                  <c:v>0.192083049049324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Reina</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5">
                  <c:v>3.8904186330982395E-2</c:v>
                </c:pt>
                <c:pt idx="6">
                  <c:v>0.12677803318724026</c:v>
                </c:pt>
                <c:pt idx="7">
                  <c:v>3.828572138325424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4">
                  <c:v>2.3708108529462531E-2</c:v>
                </c:pt>
                <c:pt idx="6">
                  <c:v>1.4331340454246229E-2</c:v>
                </c:pt>
                <c:pt idx="8">
                  <c:v>2.446063132250848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2.3800000000000002E-2</c:v>
                </c:pt>
                <c:pt idx="4">
                  <c:v>0.60250000000000004</c:v>
                </c:pt>
                <c:pt idx="5">
                  <c:v>6.0199999999999997E-2</c:v>
                </c:pt>
                <c:pt idx="6">
                  <c:v>0.313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2.2927281448757893E-2</c:v>
                </c:pt>
                <c:pt idx="4">
                  <c:v>0.21546907348873706</c:v>
                </c:pt>
                <c:pt idx="5">
                  <c:v>0.16359002652545554</c:v>
                </c:pt>
                <c:pt idx="6">
                  <c:v>0.47175592261757443</c:v>
                </c:pt>
                <c:pt idx="7">
                  <c:v>5.8942193476450036E-2</c:v>
                </c:pt>
                <c:pt idx="8">
                  <c:v>6.728682347325301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Yopr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3">
                  <c:v>8.391708426097275E-3</c:v>
                </c:pt>
                <c:pt idx="4">
                  <c:v>0.21207096110051918</c:v>
                </c:pt>
                <c:pt idx="5">
                  <c:v>2.1200323726828667E-2</c:v>
                </c:pt>
                <c:pt idx="6">
                  <c:v>0.1103482102033727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Danone</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3">
                  <c:v>1.2047758777384422E-3</c:v>
                </c:pt>
                <c:pt idx="5">
                  <c:v>0.1289339102643674</c:v>
                </c:pt>
                <c:pt idx="6">
                  <c:v>6.1119030941066702E-2</c:v>
                </c:pt>
                <c:pt idx="7">
                  <c:v>4.6560134659856618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Valio Profeel</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5">
                  <c:v>3.6505218751865321E-3</c:v>
                </c:pt>
                <c:pt idx="6">
                  <c:v>0.12694797799010005</c:v>
                </c:pt>
                <c:pt idx="7">
                  <c:v>7.6016546383439381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6">
                  <c:v>8.8644708768949171E-2</c:v>
                </c:pt>
                <c:pt idx="7">
                  <c:v>4.039907995791793E-2</c:v>
                </c:pt>
                <c:pt idx="8">
                  <c:v>2.885328953398142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3">
                  <c:v>1.3330797144922177E-2</c:v>
                </c:pt>
                <c:pt idx="4">
                  <c:v>3.3981123882178845E-3</c:v>
                </c:pt>
                <c:pt idx="5">
                  <c:v>9.805270659072959E-3</c:v>
                </c:pt>
                <c:pt idx="6">
                  <c:v>8.4695994714085787E-2</c:v>
                </c:pt>
                <c:pt idx="7">
                  <c:v>1.8488951729233899E-2</c:v>
                </c:pt>
                <c:pt idx="8">
                  <c:v>3.843353393927159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1.3231188079706802E-2</c:v>
                </c:pt>
                <c:pt idx="4">
                  <c:v>0.21426232743706131</c:v>
                </c:pt>
                <c:pt idx="5">
                  <c:v>0.17730385390260056</c:v>
                </c:pt>
                <c:pt idx="6">
                  <c:v>0.3760069881398142</c:v>
                </c:pt>
                <c:pt idx="7">
                  <c:v>0.14930294688140833</c:v>
                </c:pt>
                <c:pt idx="8">
                  <c:v>6.989245646063661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 Group</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3">
                  <c:v>1.2667154076155369E-3</c:v>
                </c:pt>
                <c:pt idx="4">
                  <c:v>0.17650142846074576</c:v>
                </c:pt>
                <c:pt idx="5">
                  <c:v>0.1529936356788448</c:v>
                </c:pt>
                <c:pt idx="6">
                  <c:v>0.15937101760447397</c:v>
                </c:pt>
                <c:pt idx="7">
                  <c:v>3.732461345424531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3">
                  <c:v>5.1340882352375657E-3</c:v>
                </c:pt>
                <c:pt idx="4">
                  <c:v>3.209936881211755E-2</c:v>
                </c:pt>
                <c:pt idx="5">
                  <c:v>2.2457551425139762E-3</c:v>
                </c:pt>
                <c:pt idx="6">
                  <c:v>0.10590291332588812</c:v>
                </c:pt>
                <c:pt idx="7">
                  <c:v>0.13231212985828905</c:v>
                </c:pt>
                <c:pt idx="8">
                  <c:v>5.724300565607073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 Marcas</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3">
                  <c:v>1.2529473033180225E-3</c:v>
                </c:pt>
                <c:pt idx="4">
                  <c:v>2.5713080457224995E-5</c:v>
                </c:pt>
                <c:pt idx="5">
                  <c:v>5.7354814219407217E-4</c:v>
                </c:pt>
                <c:pt idx="6">
                  <c:v>7.0289460046928917E-2</c:v>
                </c:pt>
                <c:pt idx="7">
                  <c:v>1.1099762000085936E-3</c:v>
                </c:pt>
                <c:pt idx="8">
                  <c:v>6.129316949501751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Reina</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4">
                  <c:v>4.973443747685163E-3</c:v>
                </c:pt>
                <c:pt idx="5">
                  <c:v>1.8328196080360182E-2</c:v>
                </c:pt>
                <c:pt idx="6">
                  <c:v>2.4838915421270071E-2</c:v>
                </c:pt>
                <c:pt idx="7">
                  <c:v>2.8827341964752519E-4</c:v>
                </c:pt>
                <c:pt idx="8">
                  <c:v>3.041356306913041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3">
                  <c:v>5.5774371335356775E-3</c:v>
                </c:pt>
                <c:pt idx="4">
                  <c:v>6.6237333605560572E-4</c:v>
                </c:pt>
                <c:pt idx="5">
                  <c:v>3.1627188586875149E-3</c:v>
                </c:pt>
                <c:pt idx="6">
                  <c:v>1.5604681741253148E-2</c:v>
                </c:pt>
                <c:pt idx="7">
                  <c:v>1.1860106058038618E-2</c:v>
                </c:pt>
                <c:pt idx="8">
                  <c:v>3.478777548151080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9.5999999999999992E-3</c:v>
                </c:pt>
                <c:pt idx="4">
                  <c:v>0.2782</c:v>
                </c:pt>
                <c:pt idx="5">
                  <c:v>0.2964</c:v>
                </c:pt>
                <c:pt idx="6">
                  <c:v>0.37769999999999998</c:v>
                </c:pt>
                <c:pt idx="7">
                  <c:v>3.79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5.6603228220090743E-3</c:v>
                </c:pt>
                <c:pt idx="4">
                  <c:v>0.16362842688812643</c:v>
                </c:pt>
                <c:pt idx="5">
                  <c:v>0.22231112495015642</c:v>
                </c:pt>
                <c:pt idx="6">
                  <c:v>0.55334032292711577</c:v>
                </c:pt>
                <c:pt idx="7">
                  <c:v>3.6301217332353211E-2</c:v>
                </c:pt>
                <c:pt idx="8">
                  <c:v>1.875858508023909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 Group</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3">
                  <c:v>5.6603228220090743E-3</c:v>
                </c:pt>
                <c:pt idx="4">
                  <c:v>0.16362842688812643</c:v>
                </c:pt>
                <c:pt idx="5">
                  <c:v>0.17429445503175206</c:v>
                </c:pt>
                <c:pt idx="6">
                  <c:v>0.22213966968914045</c:v>
                </c:pt>
                <c:pt idx="7">
                  <c:v>2.237458310423363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 Marcas</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6">
                  <c:v>0.1926395110437552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Reina</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5">
                  <c:v>2.9835186166910711E-2</c:v>
                </c:pt>
                <c:pt idx="6">
                  <c:v>9.722465828835096E-2</c:v>
                </c:pt>
                <c:pt idx="7">
                  <c:v>2.936089230310399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estle</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6">
                  <c:v>4.1336483905869088E-2</c:v>
                </c:pt>
                <c:pt idx="7">
                  <c:v>1.0990544997809182E-2</c:v>
                </c:pt>
                <c:pt idx="8">
                  <c:v>1.875858508023909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4">
                  <c:v>1.818148375149366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2.23E-2</c:v>
                </c:pt>
                <c:pt idx="4">
                  <c:v>0.44640000000000002</c:v>
                </c:pt>
                <c:pt idx="5">
                  <c:v>0.25030000000000002</c:v>
                </c:pt>
                <c:pt idx="6">
                  <c:v>0.25490000000000002</c:v>
                </c:pt>
                <c:pt idx="7">
                  <c:v>2.6100000000000002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2.2547270538916E-2</c:v>
                </c:pt>
                <c:pt idx="4">
                  <c:v>0.25604301052111522</c:v>
                </c:pt>
                <c:pt idx="5">
                  <c:v>0.16604576793449996</c:v>
                </c:pt>
                <c:pt idx="6">
                  <c:v>0.44691197262225651</c:v>
                </c:pt>
                <c:pt idx="7">
                  <c:v>5.850363341451742E-2</c:v>
                </c:pt>
                <c:pt idx="8">
                  <c:v>4.992706506995638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 Group</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3">
                  <c:v>1.2657693984544385E-2</c:v>
                </c:pt>
                <c:pt idx="4">
                  <c:v>0.25351807362050172</c:v>
                </c:pt>
                <c:pt idx="5">
                  <c:v>0.14214292938829648</c:v>
                </c:pt>
                <c:pt idx="6">
                  <c:v>0.14473837197750125</c:v>
                </c:pt>
                <c:pt idx="7">
                  <c:v>1.480286160797324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4">
                  <c:v>3.525284429562189E-6</c:v>
                </c:pt>
                <c:pt idx="6">
                  <c:v>0.13540021400399369</c:v>
                </c:pt>
                <c:pt idx="7">
                  <c:v>2.9976262657533743E-2</c:v>
                </c:pt>
                <c:pt idx="8">
                  <c:v>2.140924462897278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 Marcas</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3">
                  <c:v>1.5454205978395262E-3</c:v>
                </c:pt>
                <c:pt idx="5">
                  <c:v>2.7087003635145111E-3</c:v>
                </c:pt>
                <c:pt idx="6">
                  <c:v>9.4195856342223841E-2</c:v>
                </c:pt>
                <c:pt idx="7">
                  <c:v>5.6404550872995022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Reina</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5">
                  <c:v>5.6077660862253803E-4</c:v>
                </c:pt>
                <c:pt idx="6">
                  <c:v>4.9308345604527952E-2</c:v>
                </c:pt>
                <c:pt idx="7">
                  <c:v>6.0904095726727135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3">
                  <c:v>8.3441559565320886E-3</c:v>
                </c:pt>
                <c:pt idx="4">
                  <c:v>2.5214116161839527E-3</c:v>
                </c:pt>
                <c:pt idx="5">
                  <c:v>2.0633361574066419E-2</c:v>
                </c:pt>
                <c:pt idx="6">
                  <c:v>2.3269184694009799E-2</c:v>
                </c:pt>
                <c:pt idx="7">
                  <c:v>1.3109827736655869E-2</c:v>
                </c:pt>
                <c:pt idx="8">
                  <c:v>2.8517820440983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5.1999999999999998E-3</c:v>
                </c:pt>
                <c:pt idx="4">
                  <c:v>0.31580000000000003</c:v>
                </c:pt>
                <c:pt idx="5">
                  <c:v>0.54579999999999995</c:v>
                </c:pt>
                <c:pt idx="6">
                  <c:v>0.112</c:v>
                </c:pt>
                <c:pt idx="7">
                  <c:v>2.12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4.6396655036188672E-2</c:v>
                </c:pt>
                <c:pt idx="1">
                  <c:v>3.0362740978416514E-2</c:v>
                </c:pt>
                <c:pt idx="2">
                  <c:v>1.8946752727276382E-2</c:v>
                </c:pt>
                <c:pt idx="3">
                  <c:v>7.2678361135204692E-2</c:v>
                </c:pt>
                <c:pt idx="4">
                  <c:v>0.19587921798221514</c:v>
                </c:pt>
                <c:pt idx="5">
                  <c:v>0.14723136972155004</c:v>
                </c:pt>
                <c:pt idx="6">
                  <c:v>0.23025790532698559</c:v>
                </c:pt>
                <c:pt idx="7">
                  <c:v>0.19996308959051212</c:v>
                </c:pt>
                <c:pt idx="8">
                  <c:v>5.828390750165080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4.1043629909785218E-3</c:v>
                </c:pt>
                <c:pt idx="4">
                  <c:v>0.24794941996196515</c:v>
                </c:pt>
                <c:pt idx="5">
                  <c:v>0.43898033183578178</c:v>
                </c:pt>
                <c:pt idx="6">
                  <c:v>0.25392034321056445</c:v>
                </c:pt>
                <c:pt idx="7">
                  <c:v>5.504554200071015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 Group</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3">
                  <c:v>4.1008151467718515E-3</c:v>
                </c:pt>
                <c:pt idx="4">
                  <c:v>0.24794941996196515</c:v>
                </c:pt>
                <c:pt idx="5">
                  <c:v>0.4285382872013393</c:v>
                </c:pt>
                <c:pt idx="6">
                  <c:v>8.7898973559395396E-2</c:v>
                </c:pt>
                <c:pt idx="7">
                  <c:v>1.663638351683407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5">
                  <c:v>1.7405132370560106E-3</c:v>
                </c:pt>
                <c:pt idx="6">
                  <c:v>9.8396059054655233E-2</c:v>
                </c:pt>
                <c:pt idx="7">
                  <c:v>3.840915848387608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estle</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3">
                  <c:v>2.85798561092941E-6</c:v>
                </c:pt>
                <c:pt idx="5">
                  <c:v>8.6337774281618207E-3</c:v>
                </c:pt>
                <c:pt idx="6">
                  <c:v>5.211797922283881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 Marcas</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3">
                  <c:v>6.8985859574158168E-7</c:v>
                </c:pt>
                <c:pt idx="5">
                  <c:v>6.775396922461963E-5</c:v>
                </c:pt>
                <c:pt idx="6">
                  <c:v>1.55073313736750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3.8699999999999998E-2</c:v>
                </c:pt>
                <c:pt idx="4">
                  <c:v>0.17369999999999999</c:v>
                </c:pt>
                <c:pt idx="5">
                  <c:v>0.63490000000000002</c:v>
                </c:pt>
                <c:pt idx="7">
                  <c:v>0.1527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2.4281646242917912E-2</c:v>
                </c:pt>
                <c:pt idx="4">
                  <c:v>0.10911312037401034</c:v>
                </c:pt>
                <c:pt idx="5">
                  <c:v>0.39882741333468597</c:v>
                </c:pt>
                <c:pt idx="6">
                  <c:v>0.37179535953265619</c:v>
                </c:pt>
                <c:pt idx="7">
                  <c:v>9.598246051572960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 Group</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3">
                  <c:v>2.4281646242917912E-2</c:v>
                </c:pt>
                <c:pt idx="4">
                  <c:v>0.10911312037401034</c:v>
                </c:pt>
                <c:pt idx="5">
                  <c:v>0.39882741333468597</c:v>
                </c:pt>
                <c:pt idx="7">
                  <c:v>9.598246051572960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 Marcas</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6">
                  <c:v>0.1944701590642978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estle</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6">
                  <c:v>0.17732520046835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3.3599999999999998E-2</c:v>
                </c:pt>
                <c:pt idx="4">
                  <c:v>0.58379999999999999</c:v>
                </c:pt>
                <c:pt idx="5">
                  <c:v>0.18659999999999999</c:v>
                </c:pt>
                <c:pt idx="6">
                  <c:v>0.10630000000000001</c:v>
                </c:pt>
                <c:pt idx="7">
                  <c:v>8.9700000000000002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2.1454350408220711E-2</c:v>
                </c:pt>
                <c:pt idx="4">
                  <c:v>0.37273458809371379</c:v>
                </c:pt>
                <c:pt idx="5">
                  <c:v>0.17310853679774996</c:v>
                </c:pt>
                <c:pt idx="6">
                  <c:v>0.37546020012665365</c:v>
                </c:pt>
                <c:pt idx="7">
                  <c:v>5.724232457366195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 Group</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3">
                  <c:v>2.1442176951870874E-2</c:v>
                </c:pt>
                <c:pt idx="4">
                  <c:v>0.3727209240100558</c:v>
                </c:pt>
                <c:pt idx="5">
                  <c:v>0.11915975326143044</c:v>
                </c:pt>
                <c:pt idx="6">
                  <c:v>6.7865528523029323E-2</c:v>
                </c:pt>
                <c:pt idx="7">
                  <c:v>5.724232457366195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4">
                  <c:v>1.3664083657979539E-5</c:v>
                </c:pt>
                <c:pt idx="6">
                  <c:v>0.2698701241270203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estle</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3">
                  <c:v>1.2173456349836318E-5</c:v>
                </c:pt>
                <c:pt idx="5">
                  <c:v>5.394878353631951E-2</c:v>
                </c:pt>
                <c:pt idx="6">
                  <c:v>3.772454747660398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1.2999999999999999E-3</c:v>
                </c:pt>
                <c:pt idx="4">
                  <c:v>0.37709999999999999</c:v>
                </c:pt>
                <c:pt idx="5">
                  <c:v>0.19800000000000001</c:v>
                </c:pt>
                <c:pt idx="6">
                  <c:v>0.42249999999999999</c:v>
                </c:pt>
                <c:pt idx="7">
                  <c:v>1.1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1.5544039962682176E-2</c:v>
                </c:pt>
                <c:pt idx="4">
                  <c:v>0.20572559592081771</c:v>
                </c:pt>
                <c:pt idx="5">
                  <c:v>0.11099175425848956</c:v>
                </c:pt>
                <c:pt idx="6">
                  <c:v>0.40694527433086758</c:v>
                </c:pt>
                <c:pt idx="7">
                  <c:v>0.17318895480238083</c:v>
                </c:pt>
                <c:pt idx="8">
                  <c:v>8.760408103536394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 Group</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0">
                  <c:v>4.505535575775628E-2</c:v>
                </c:pt>
                <c:pt idx="1">
                  <c:v>2.947125315202629E-2</c:v>
                </c:pt>
                <c:pt idx="2">
                  <c:v>1.5324839684057782E-2</c:v>
                </c:pt>
                <c:pt idx="3">
                  <c:v>5.7219828501608817E-2</c:v>
                </c:pt>
                <c:pt idx="4">
                  <c:v>0.12806269609417884</c:v>
                </c:pt>
                <c:pt idx="5">
                  <c:v>5.6702036041068875E-2</c:v>
                </c:pt>
                <c:pt idx="6">
                  <c:v>5.3137800872314442E-2</c:v>
                </c:pt>
                <c:pt idx="7">
                  <c:v>4.3540963932779238E-2</c:v>
                </c:pt>
                <c:pt idx="8">
                  <c:v>1.012791236208905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0">
                  <c:v>7.2601741045622046E-8</c:v>
                </c:pt>
                <c:pt idx="1">
                  <c:v>1.7263273551802378E-4</c:v>
                </c:pt>
                <c:pt idx="2">
                  <c:v>2.3498710908475724E-4</c:v>
                </c:pt>
                <c:pt idx="3">
                  <c:v>5.3625887120476549E-3</c:v>
                </c:pt>
                <c:pt idx="4">
                  <c:v>4.4775331368642889E-2</c:v>
                </c:pt>
                <c:pt idx="5">
                  <c:v>6.5217998251700618E-2</c:v>
                </c:pt>
                <c:pt idx="6">
                  <c:v>0.13996115500664108</c:v>
                </c:pt>
                <c:pt idx="7">
                  <c:v>0.14529927009266191</c:v>
                </c:pt>
                <c:pt idx="8">
                  <c:v>4.048390032638917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estle</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1">
                  <c:v>2.5463219323247154E-7</c:v>
                </c:pt>
                <c:pt idx="2">
                  <c:v>4.2087965823549012E-9</c:v>
                </c:pt>
                <c:pt idx="3">
                  <c:v>3.4005392866794662E-4</c:v>
                </c:pt>
                <c:pt idx="4">
                  <c:v>1.7791861575576059E-3</c:v>
                </c:pt>
                <c:pt idx="5">
                  <c:v>6.5063365486966182E-4</c:v>
                </c:pt>
                <c:pt idx="6">
                  <c:v>1.3536547795094252E-2</c:v>
                </c:pt>
                <c:pt idx="7">
                  <c:v>3.6724985693419201E-3</c:v>
                </c:pt>
                <c:pt idx="8">
                  <c:v>1.8417009914940415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Fageda</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1">
                  <c:v>5.1135300176893668E-5</c:v>
                </c:pt>
                <c:pt idx="4">
                  <c:v>3.9175652201418444E-3</c:v>
                </c:pt>
                <c:pt idx="5">
                  <c:v>3.4217779264331745E-3</c:v>
                </c:pt>
                <c:pt idx="6">
                  <c:v>8.291717002624305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0">
                  <c:v>1.3412266766913467E-3</c:v>
                </c:pt>
                <c:pt idx="1">
                  <c:v>6.6746515850207193E-4</c:v>
                </c:pt>
                <c:pt idx="2">
                  <c:v>3.386921725337257E-3</c:v>
                </c:pt>
                <c:pt idx="3">
                  <c:v>9.7558899928802574E-3</c:v>
                </c:pt>
                <c:pt idx="4">
                  <c:v>1.7344439141693948E-2</c:v>
                </c:pt>
                <c:pt idx="5">
                  <c:v>2.123892384747773E-2</c:v>
                </c:pt>
                <c:pt idx="6">
                  <c:v>1.5330684650311528E-2</c:v>
                </c:pt>
                <c:pt idx="7">
                  <c:v>7.4503569957290756E-3</c:v>
                </c:pt>
                <c:pt idx="8">
                  <c:v>7.487924714023175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 Group</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3">
                  <c:v>5.4851900804357603E-4</c:v>
                </c:pt>
                <c:pt idx="4">
                  <c:v>0.15839561180797707</c:v>
                </c:pt>
                <c:pt idx="5">
                  <c:v>8.316716700852278E-2</c:v>
                </c:pt>
                <c:pt idx="6">
                  <c:v>0.1774829294733572</c:v>
                </c:pt>
                <c:pt idx="7">
                  <c:v>4.6244571547990516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3">
                  <c:v>6.4351305502585799E-3</c:v>
                </c:pt>
                <c:pt idx="4">
                  <c:v>4.0233751237295778E-2</c:v>
                </c:pt>
                <c:pt idx="5">
                  <c:v>2.373789774605227E-3</c:v>
                </c:pt>
                <c:pt idx="6">
                  <c:v>0.10780524429724478</c:v>
                </c:pt>
                <c:pt idx="7">
                  <c:v>0.15610831988591622</c:v>
                </c:pt>
                <c:pt idx="8">
                  <c:v>7.174910083503081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 Marcas</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3">
                  <c:v>1.5702850369591326E-3</c:v>
                </c:pt>
                <c:pt idx="4">
                  <c:v>3.2229097360631722E-5</c:v>
                </c:pt>
                <c:pt idx="5">
                  <c:v>7.0172272579545152E-4</c:v>
                </c:pt>
                <c:pt idx="6">
                  <c:v>8.4171938151150927E-2</c:v>
                </c:pt>
                <c:pt idx="7">
                  <c:v>1.3912580827323301E-3</c:v>
                </c:pt>
                <c:pt idx="8">
                  <c:v>7.682562695989842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Reina</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4">
                  <c:v>6.2337767358687365E-3</c:v>
                </c:pt>
                <c:pt idx="5">
                  <c:v>2.2972790712545633E-2</c:v>
                </c:pt>
                <c:pt idx="6">
                  <c:v>3.1133407946836299E-2</c:v>
                </c:pt>
                <c:pt idx="7">
                  <c:v>3.6132551771686928E-4</c:v>
                </c:pt>
                <c:pt idx="8">
                  <c:v>3.812074118732419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3">
                  <c:v>6.9901053674208879E-3</c:v>
                </c:pt>
                <c:pt idx="4">
                  <c:v>8.3022704231550614E-4</c:v>
                </c:pt>
                <c:pt idx="5">
                  <c:v>1.7762840370204817E-3</c:v>
                </c:pt>
                <c:pt idx="6">
                  <c:v>6.3517544622783643E-3</c:v>
                </c:pt>
                <c:pt idx="7">
                  <c:v>1.4865605600535535E-2</c:v>
                </c:pt>
                <c:pt idx="8">
                  <c:v>4.36034338561086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4">
                  <c:v>0.31290000000000001</c:v>
                </c:pt>
                <c:pt idx="5">
                  <c:v>0.18410000000000001</c:v>
                </c:pt>
                <c:pt idx="6">
                  <c:v>0.5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4">
                  <c:v>0.18019944209664757</c:v>
                </c:pt>
                <c:pt idx="5">
                  <c:v>0.16865547690543098</c:v>
                </c:pt>
                <c:pt idx="6">
                  <c:v>0.60852453708284138</c:v>
                </c:pt>
                <c:pt idx="7">
                  <c:v>1.8159912592571652E-2</c:v>
                </c:pt>
                <c:pt idx="8">
                  <c:v>2.446063132250848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 Group</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4">
                  <c:v>0.18019944209664757</c:v>
                </c:pt>
                <c:pt idx="5">
                  <c:v>0.10604318204498604</c:v>
                </c:pt>
                <c:pt idx="6">
                  <c:v>0.2896634548462767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 Marcas</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6">
                  <c:v>0.19208304904932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Reina</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5">
                  <c:v>3.8904186330982395E-2</c:v>
                </c:pt>
                <c:pt idx="6">
                  <c:v>0.12677803318724026</c:v>
                </c:pt>
                <c:pt idx="7">
                  <c:v>3.828572138325424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estle</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7">
                  <c:v>1.4331340454246229E-2</c:v>
                </c:pt>
                <c:pt idx="8">
                  <c:v>2.446063132250848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4">
                  <c:v>2.370810852946253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1.77E-2</c:v>
                </c:pt>
                <c:pt idx="4">
                  <c:v>0.39029999999999998</c:v>
                </c:pt>
                <c:pt idx="5">
                  <c:v>0.27629999999999999</c:v>
                </c:pt>
                <c:pt idx="6">
                  <c:v>0.3155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2.2927281448757893E-2</c:v>
                </c:pt>
                <c:pt idx="4">
                  <c:v>0.21546907348873706</c:v>
                </c:pt>
                <c:pt idx="5">
                  <c:v>0.16359002652545557</c:v>
                </c:pt>
                <c:pt idx="6">
                  <c:v>0.47175592261757443</c:v>
                </c:pt>
                <c:pt idx="7">
                  <c:v>5.8942193476450029E-2</c:v>
                </c:pt>
                <c:pt idx="8">
                  <c:v>6.728682347325301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 Group</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3">
                  <c:v>9.603308516522413E-3</c:v>
                </c:pt>
                <c:pt idx="4">
                  <c:v>0.21207096110051918</c:v>
                </c:pt>
                <c:pt idx="5">
                  <c:v>0.15013423399119608</c:v>
                </c:pt>
                <c:pt idx="6">
                  <c:v>0.17146724114443948</c:v>
                </c:pt>
                <c:pt idx="7">
                  <c:v>4.6560134659856618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 Marcas</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3">
                  <c:v>2.0827669884671668E-3</c:v>
                </c:pt>
                <c:pt idx="5">
                  <c:v>3.6505218751865321E-3</c:v>
                </c:pt>
                <c:pt idx="6">
                  <c:v>0.12694797799010005</c:v>
                </c:pt>
                <c:pt idx="7">
                  <c:v>7.6016546383439381E-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6">
                  <c:v>8.8644708768949171E-2</c:v>
                </c:pt>
                <c:pt idx="7">
                  <c:v>4.039907995791793E-2</c:v>
                </c:pt>
                <c:pt idx="8">
                  <c:v>2.885328953398142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Reina</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5">
                  <c:v>7.5575995944171721E-4</c:v>
                </c:pt>
                <c:pt idx="6">
                  <c:v>6.6452973788890132E-2</c:v>
                </c:pt>
                <c:pt idx="7">
                  <c:v>8.208059360630011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3">
                  <c:v>1.1241205943768314E-2</c:v>
                </c:pt>
                <c:pt idx="4">
                  <c:v>3.3981123882178845E-3</c:v>
                </c:pt>
                <c:pt idx="5">
                  <c:v>9.049510699631242E-3</c:v>
                </c:pt>
                <c:pt idx="6">
                  <c:v>1.8243020925195658E-2</c:v>
                </c:pt>
                <c:pt idx="7">
                  <c:v>1.7668145793170897E-2</c:v>
                </c:pt>
                <c:pt idx="8">
                  <c:v>3.84335339392715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4">
                  <c:v>2.3599999999999999E-2</c:v>
                </c:pt>
                <c:pt idx="5">
                  <c:v>0.1158</c:v>
                </c:pt>
                <c:pt idx="6">
                  <c:v>0.375</c:v>
                </c:pt>
                <c:pt idx="7">
                  <c:v>0.34429999999999999</c:v>
                </c:pt>
                <c:pt idx="8">
                  <c:v>0.1409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4.6396655036188672E-2</c:v>
                </c:pt>
                <c:pt idx="1">
                  <c:v>3.0362740978416514E-2</c:v>
                </c:pt>
                <c:pt idx="2">
                  <c:v>1.8946752727276375E-2</c:v>
                </c:pt>
                <c:pt idx="3">
                  <c:v>7.2678361135204678E-2</c:v>
                </c:pt>
                <c:pt idx="4">
                  <c:v>0.19587921798221514</c:v>
                </c:pt>
                <c:pt idx="5">
                  <c:v>0.14723136972155007</c:v>
                </c:pt>
                <c:pt idx="6">
                  <c:v>0.23025790532698559</c:v>
                </c:pt>
                <c:pt idx="7">
                  <c:v>0.19996308959051215</c:v>
                </c:pt>
                <c:pt idx="8">
                  <c:v>5.828390750165081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2">
                  <c:v>3.735306966839975E-8</c:v>
                </c:pt>
                <c:pt idx="3">
                  <c:v>2.0606794166782391E-5</c:v>
                </c:pt>
                <c:pt idx="4">
                  <c:v>1.6947645374100128E-3</c:v>
                </c:pt>
                <c:pt idx="5">
                  <c:v>8.3142335382403315E-3</c:v>
                </c:pt>
                <c:pt idx="6">
                  <c:v>2.6936205007446985E-2</c:v>
                </c:pt>
                <c:pt idx="7">
                  <c:v>2.4728951619290371E-2</c:v>
                </c:pt>
                <c:pt idx="8">
                  <c:v>1.012769297856719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0">
                  <c:v>7.2601741045622046E-8</c:v>
                </c:pt>
                <c:pt idx="1">
                  <c:v>1.7263273551802378E-4</c:v>
                </c:pt>
                <c:pt idx="2">
                  <c:v>2.3498710908475724E-4</c:v>
                </c:pt>
                <c:pt idx="3">
                  <c:v>5.3625887120476549E-3</c:v>
                </c:pt>
                <c:pt idx="4">
                  <c:v>4.4775331368642889E-2</c:v>
                </c:pt>
                <c:pt idx="5">
                  <c:v>6.5217998251700618E-2</c:v>
                </c:pt>
                <c:pt idx="6">
                  <c:v>0.13996115500664108</c:v>
                </c:pt>
                <c:pt idx="7">
                  <c:v>0.14529927009266191</c:v>
                </c:pt>
                <c:pt idx="8">
                  <c:v>4.048390032638917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ctivia</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0">
                  <c:v>1.3659765049938847E-3</c:v>
                </c:pt>
                <c:pt idx="1">
                  <c:v>2.2754648282672656E-3</c:v>
                </c:pt>
                <c:pt idx="2">
                  <c:v>6.4769275825774138E-4</c:v>
                </c:pt>
                <c:pt idx="3">
                  <c:v>3.4235045852310859E-2</c:v>
                </c:pt>
                <c:pt idx="4">
                  <c:v>6.0792389722202293E-2</c:v>
                </c:pt>
                <c:pt idx="5">
                  <c:v>1.6194411780544111E-2</c:v>
                </c:pt>
                <c:pt idx="6">
                  <c:v>5.9280231716011336E-3</c:v>
                </c:pt>
                <c:pt idx="7">
                  <c:v>1.6093228101907715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Danacol</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0">
                  <c:v>3.6094288581860583E-2</c:v>
                </c:pt>
                <c:pt idx="1">
                  <c:v>1.8369818783260762E-5</c:v>
                </c:pt>
                <c:pt idx="2">
                  <c:v>1.4236540111883481E-2</c:v>
                </c:pt>
                <c:pt idx="3">
                  <c:v>2.153054610167337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0">
                  <c:v>8.9363173475931618E-3</c:v>
                </c:pt>
                <c:pt idx="1">
                  <c:v>2.789627359584796E-2</c:v>
                </c:pt>
                <c:pt idx="2">
                  <c:v>3.8274953949807315E-3</c:v>
                </c:pt>
                <c:pt idx="3">
                  <c:v>3.0907065166512041E-2</c:v>
                </c:pt>
                <c:pt idx="4">
                  <c:v>8.8616732353959934E-2</c:v>
                </c:pt>
                <c:pt idx="5">
                  <c:v>5.7504726151065E-2</c:v>
                </c:pt>
                <c:pt idx="6">
                  <c:v>5.7432522141296412E-2</c:v>
                </c:pt>
                <c:pt idx="7">
                  <c:v>2.9773935597540789E-2</c:v>
                </c:pt>
                <c:pt idx="8">
                  <c:v>7.672314196694434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6.9900000000000004E-2</c:v>
                </c:pt>
                <c:pt idx="1">
                  <c:v>7.9500000000000001E-2</c:v>
                </c:pt>
                <c:pt idx="2">
                  <c:v>4.0800000000000003E-2</c:v>
                </c:pt>
                <c:pt idx="3">
                  <c:v>0.14410000000000001</c:v>
                </c:pt>
                <c:pt idx="4">
                  <c:v>0.30120000000000002</c:v>
                </c:pt>
                <c:pt idx="5">
                  <c:v>9.1800000000000007E-2</c:v>
                </c:pt>
                <c:pt idx="6">
                  <c:v>0.13519999999999999</c:v>
                </c:pt>
                <c:pt idx="7">
                  <c:v>0.13389999999999999</c:v>
                </c:pt>
                <c:pt idx="8">
                  <c:v>3.5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4">
                  <c:v>2.53E-2</c:v>
                </c:pt>
                <c:pt idx="5">
                  <c:v>4.4400000000000002E-2</c:v>
                </c:pt>
                <c:pt idx="6">
                  <c:v>0.46989999999999998</c:v>
                </c:pt>
                <c:pt idx="7">
                  <c:v>0.44190000000000002</c:v>
                </c:pt>
                <c:pt idx="8">
                  <c:v>1.84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4.3106447565912337E-2</c:v>
                </c:pt>
                <c:pt idx="1">
                  <c:v>4.5192110140544028E-2</c:v>
                </c:pt>
                <c:pt idx="2">
                  <c:v>2.5158253162303593E-2</c:v>
                </c:pt>
                <c:pt idx="3">
                  <c:v>8.653487944847435E-2</c:v>
                </c:pt>
                <c:pt idx="4">
                  <c:v>0.25197182818381247</c:v>
                </c:pt>
                <c:pt idx="5">
                  <c:v>8.69957045381059E-2</c:v>
                </c:pt>
                <c:pt idx="6">
                  <c:v>0.2309858112272713</c:v>
                </c:pt>
                <c:pt idx="7">
                  <c:v>0.20874132862250738</c:v>
                </c:pt>
                <c:pt idx="8">
                  <c:v>2.131363711106865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4">
                  <c:v>2.7333389960085344E-3</c:v>
                </c:pt>
                <c:pt idx="5">
                  <c:v>4.8008440027407125E-3</c:v>
                </c:pt>
                <c:pt idx="6">
                  <c:v>5.0760360338524019E-2</c:v>
                </c:pt>
                <c:pt idx="7">
                  <c:v>4.7737601998866432E-2</c:v>
                </c:pt>
                <c:pt idx="8">
                  <c:v>1.985764170143742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lipende</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4">
                  <c:v>5.7649917895800179E-2</c:v>
                </c:pt>
                <c:pt idx="6">
                  <c:v>0.10873601271377226</c:v>
                </c:pt>
                <c:pt idx="7">
                  <c:v>0.11306187847010563</c:v>
                </c:pt>
                <c:pt idx="8">
                  <c:v>1.710108135838354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ctivia</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1">
                  <c:v>5.0010645589254501E-4</c:v>
                </c:pt>
                <c:pt idx="2">
                  <c:v>3.5971900559835743E-4</c:v>
                </c:pt>
                <c:pt idx="3">
                  <c:v>4.6999667422003129E-2</c:v>
                </c:pt>
                <c:pt idx="4">
                  <c:v>0.10720236562811805</c:v>
                </c:pt>
                <c:pt idx="5">
                  <c:v>1.3417573995955884E-2</c:v>
                </c:pt>
                <c:pt idx="6">
                  <c:v>2.306413683085522E-3</c:v>
                </c:pt>
                <c:pt idx="7">
                  <c:v>4.8366506418890938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ctimel</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1">
                  <c:v>4.4692003684651482E-2</c:v>
                </c:pt>
                <c:pt idx="3">
                  <c:v>3.452342666316170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0">
                  <c:v>4.3106447565912337E-2</c:v>
                </c:pt>
                <c:pt idx="2">
                  <c:v>2.4798534156705236E-2</c:v>
                </c:pt>
                <c:pt idx="3">
                  <c:v>5.0117853633095217E-3</c:v>
                </c:pt>
                <c:pt idx="4">
                  <c:v>8.4386205663885702E-2</c:v>
                </c:pt>
                <c:pt idx="5">
                  <c:v>6.8777286539409302E-2</c:v>
                </c:pt>
                <c:pt idx="6">
                  <c:v>6.9183024491889483E-2</c:v>
                </c:pt>
                <c:pt idx="7">
                  <c:v>4.7458183089346399E-2</c:v>
                </c:pt>
                <c:pt idx="8">
                  <c:v>2.22679158254136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2">
                  <c:v>2.2000000000000001E-3</c:v>
                </c:pt>
                <c:pt idx="3">
                  <c:v>2.5000000000000001E-3</c:v>
                </c:pt>
                <c:pt idx="4">
                  <c:v>3.44E-2</c:v>
                </c:pt>
                <c:pt idx="5">
                  <c:v>0.1731</c:v>
                </c:pt>
                <c:pt idx="6">
                  <c:v>0.39439999999999997</c:v>
                </c:pt>
                <c:pt idx="7">
                  <c:v>0.26440000000000002</c:v>
                </c:pt>
                <c:pt idx="8">
                  <c:v>0.12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6.9673006843111229E-2</c:v>
                </c:pt>
                <c:pt idx="1">
                  <c:v>6.5981323981580582E-3</c:v>
                </c:pt>
                <c:pt idx="2">
                  <c:v>4.6776255533991139E-2</c:v>
                </c:pt>
                <c:pt idx="3">
                  <c:v>0.1172284733644462</c:v>
                </c:pt>
                <c:pt idx="4">
                  <c:v>0.20461534341378726</c:v>
                </c:pt>
                <c:pt idx="5">
                  <c:v>0.14628748473077063</c:v>
                </c:pt>
                <c:pt idx="6">
                  <c:v>0.23106874540586078</c:v>
                </c:pt>
                <c:pt idx="7">
                  <c:v>0.14149551526282464</c:v>
                </c:pt>
                <c:pt idx="8">
                  <c:v>3.625704304705003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2">
                  <c:v>1.6542561316062584E-4</c:v>
                </c:pt>
                <c:pt idx="3">
                  <c:v>1.8380455978093504E-4</c:v>
                </c:pt>
                <c:pt idx="4">
                  <c:v>2.5667534736900899E-3</c:v>
                </c:pt>
                <c:pt idx="5">
                  <c:v>1.2917984501622461E-2</c:v>
                </c:pt>
                <c:pt idx="6">
                  <c:v>2.9440083957322387E-2</c:v>
                </c:pt>
                <c:pt idx="7">
                  <c:v>1.9735205213366063E-2</c:v>
                </c:pt>
                <c:pt idx="8">
                  <c:v>9.628298961172933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1">
                  <c:v>9.449736904096176E-4</c:v>
                </c:pt>
                <c:pt idx="2">
                  <c:v>1.4534863903296533E-3</c:v>
                </c:pt>
                <c:pt idx="3">
                  <c:v>1.5904485343937184E-2</c:v>
                </c:pt>
                <c:pt idx="4">
                  <c:v>4.1556498851622742E-2</c:v>
                </c:pt>
                <c:pt idx="5">
                  <c:v>3.7985343240362041E-2</c:v>
                </c:pt>
                <c:pt idx="6">
                  <c:v>0.12830107175823494</c:v>
                </c:pt>
                <c:pt idx="7">
                  <c:v>8.8232739307632729E-2</c:v>
                </c:pt>
                <c:pt idx="8">
                  <c:v>1.845860046177996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ctivia</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0">
                  <c:v>9.7342860647873421E-3</c:v>
                </c:pt>
                <c:pt idx="1">
                  <c:v>1.0290348566105829E-3</c:v>
                </c:pt>
                <c:pt idx="2">
                  <c:v>6.0952797899291936E-3</c:v>
                </c:pt>
                <c:pt idx="3">
                  <c:v>4.7191696201737861E-2</c:v>
                </c:pt>
                <c:pt idx="4">
                  <c:v>3.9000944812692243E-2</c:v>
                </c:pt>
                <c:pt idx="5">
                  <c:v>2.3211915276869725E-2</c:v>
                </c:pt>
                <c:pt idx="6">
                  <c:v>7.1148006613059945E-3</c:v>
                </c:pt>
                <c:pt idx="7">
                  <c:v>2.1081703292751046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lpro</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2">
                  <c:v>6.1632109526084751E-6</c:v>
                </c:pt>
                <c:pt idx="3">
                  <c:v>1.2899122560511172E-3</c:v>
                </c:pt>
                <c:pt idx="4">
                  <c:v>2.959049649172172E-2</c:v>
                </c:pt>
                <c:pt idx="5">
                  <c:v>2.0226959010687617E-2</c:v>
                </c:pt>
                <c:pt idx="6">
                  <c:v>3.3271276758857016E-5</c:v>
                </c:pt>
                <c:pt idx="7">
                  <c:v>9.1697510351062487E-4</c:v>
                </c:pt>
                <c:pt idx="8">
                  <c:v>1.4087339320247943E-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0">
                  <c:v>5.9938720778323885E-2</c:v>
                </c:pt>
                <c:pt idx="1">
                  <c:v>4.6241238511378581E-3</c:v>
                </c:pt>
                <c:pt idx="2">
                  <c:v>3.9055900529619055E-2</c:v>
                </c:pt>
                <c:pt idx="3">
                  <c:v>5.2658575002939099E-2</c:v>
                </c:pt>
                <c:pt idx="4">
                  <c:v>9.1900649784060456E-2</c:v>
                </c:pt>
                <c:pt idx="5">
                  <c:v>5.19452827012288E-2</c:v>
                </c:pt>
                <c:pt idx="6">
                  <c:v>6.6179517752238626E-2</c:v>
                </c:pt>
                <c:pt idx="7">
                  <c:v>3.2399778605387723E-2</c:v>
                </c:pt>
                <c:pt idx="8">
                  <c:v>8.170002750703937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2.7000000000000001E-3</c:v>
                </c:pt>
                <c:pt idx="5">
                  <c:v>0.40720000000000001</c:v>
                </c:pt>
                <c:pt idx="6">
                  <c:v>0.56410000000000005</c:v>
                </c:pt>
                <c:pt idx="7">
                  <c:v>2.58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1.3231188079706802E-2</c:v>
                </c:pt>
                <c:pt idx="4">
                  <c:v>0.21426232743706128</c:v>
                </c:pt>
                <c:pt idx="5">
                  <c:v>0.17730385390260056</c:v>
                </c:pt>
                <c:pt idx="6">
                  <c:v>0.3760069881398142</c:v>
                </c:pt>
                <c:pt idx="7">
                  <c:v>0.14930294688140833</c:v>
                </c:pt>
                <c:pt idx="8">
                  <c:v>6.98924564606366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3">
                  <c:v>3.8990036026904869E-4</c:v>
                </c:pt>
                <c:pt idx="4">
                  <c:v>1.1596290450294419E-5</c:v>
                </c:pt>
                <c:pt idx="5">
                  <c:v>5.8727390608401472E-2</c:v>
                </c:pt>
                <c:pt idx="6">
                  <c:v>8.1358218906223342E-2</c:v>
                </c:pt>
                <c:pt idx="7">
                  <c:v>3.732461345424531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Yopro</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3">
                  <c:v>8.5506702152776605E-4</c:v>
                </c:pt>
                <c:pt idx="4">
                  <c:v>0.17648983217029546</c:v>
                </c:pt>
                <c:pt idx="5">
                  <c:v>9.426624507044333E-2</c:v>
                </c:pt>
                <c:pt idx="6">
                  <c:v>7.801279869825064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3">
                  <c:v>5.1340882352375657E-3</c:v>
                </c:pt>
                <c:pt idx="4">
                  <c:v>3.209936881211755E-2</c:v>
                </c:pt>
                <c:pt idx="5">
                  <c:v>2.2457551425139762E-3</c:v>
                </c:pt>
                <c:pt idx="6">
                  <c:v>0.10590291332588812</c:v>
                </c:pt>
                <c:pt idx="7">
                  <c:v>0.13231212985828905</c:v>
                </c:pt>
                <c:pt idx="8">
                  <c:v>5.724300565607073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Valio Profeel</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6">
                  <c:v>6.013558275200036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3">
                  <c:v>6.8521324626724224E-3</c:v>
                </c:pt>
                <c:pt idx="4">
                  <c:v>5.6615301641979934E-3</c:v>
                </c:pt>
                <c:pt idx="5">
                  <c:v>2.206446308124177E-2</c:v>
                </c:pt>
                <c:pt idx="6">
                  <c:v>5.059747445745176E-2</c:v>
                </c:pt>
                <c:pt idx="7">
                  <c:v>1.3258355677694737E-2</c:v>
                </c:pt>
                <c:pt idx="8">
                  <c:v>1.264945080456587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28889999999999999</c:v>
                </c:pt>
                <c:pt idx="6">
                  <c:v>0.62429999999999997</c:v>
                </c:pt>
                <c:pt idx="7">
                  <c:v>8.6800000000000002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4.3106447565912337E-2</c:v>
                </c:pt>
                <c:pt idx="1">
                  <c:v>4.5192110140544021E-2</c:v>
                </c:pt>
                <c:pt idx="2">
                  <c:v>2.5158253162303593E-2</c:v>
                </c:pt>
                <c:pt idx="3">
                  <c:v>8.6534879448474364E-2</c:v>
                </c:pt>
                <c:pt idx="4">
                  <c:v>0.25197182818381247</c:v>
                </c:pt>
                <c:pt idx="5">
                  <c:v>8.6995704538105886E-2</c:v>
                </c:pt>
                <c:pt idx="6">
                  <c:v>0.23098581122727127</c:v>
                </c:pt>
                <c:pt idx="7">
                  <c:v>0.20874132862250735</c:v>
                </c:pt>
                <c:pt idx="8">
                  <c:v>2.131363711106865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5.6603228220090743E-3</c:v>
                </c:pt>
                <c:pt idx="4">
                  <c:v>0.16362842688812643</c:v>
                </c:pt>
                <c:pt idx="5">
                  <c:v>0.22231112495015642</c:v>
                </c:pt>
                <c:pt idx="6">
                  <c:v>0.55334032292711566</c:v>
                </c:pt>
                <c:pt idx="7">
                  <c:v>3.6301217332353211E-2</c:v>
                </c:pt>
                <c:pt idx="8">
                  <c:v>1.875858508023909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5">
                  <c:v>7.4425378531830566E-2</c:v>
                </c:pt>
                <c:pt idx="6">
                  <c:v>0.16082996170832503</c:v>
                </c:pt>
                <c:pt idx="7">
                  <c:v>2.237458310423363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Yopro</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3">
                  <c:v>5.6603228220090743E-3</c:v>
                </c:pt>
                <c:pt idx="4">
                  <c:v>0.16362842688812643</c:v>
                </c:pt>
                <c:pt idx="5">
                  <c:v>9.9869076499921494E-2</c:v>
                </c:pt>
                <c:pt idx="6">
                  <c:v>6.130970798081540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Valio Profeel</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6">
                  <c:v>0.1473063458810993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Reina</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5">
                  <c:v>2.9835186166910711E-2</c:v>
                </c:pt>
                <c:pt idx="6">
                  <c:v>9.722465828835096E-2</c:v>
                </c:pt>
                <c:pt idx="7">
                  <c:v>2.936089230310399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4">
                  <c:v>1.8181483751493664E-2</c:v>
                </c:pt>
                <c:pt idx="6">
                  <c:v>8.6669649068524951E-2</c:v>
                </c:pt>
                <c:pt idx="7">
                  <c:v>1.0990544997809182E-2</c:v>
                </c:pt>
                <c:pt idx="8">
                  <c:v>1.875858508023909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5.1000000000000004E-3</c:v>
                </c:pt>
                <c:pt idx="5">
                  <c:v>0.54910000000000003</c:v>
                </c:pt>
                <c:pt idx="6">
                  <c:v>0.36080000000000001</c:v>
                </c:pt>
                <c:pt idx="7">
                  <c:v>8.5000000000000006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2.2547270538916E-2</c:v>
                </c:pt>
                <c:pt idx="4">
                  <c:v>0.25604301052111522</c:v>
                </c:pt>
                <c:pt idx="5">
                  <c:v>0.16604576793449996</c:v>
                </c:pt>
                <c:pt idx="6">
                  <c:v>0.44691197262225651</c:v>
                </c:pt>
                <c:pt idx="7">
                  <c:v>5.8503633414517434E-2</c:v>
                </c:pt>
                <c:pt idx="8">
                  <c:v>4.992706506995638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3">
                  <c:v>8.9394803525643372E-4</c:v>
                </c:pt>
                <c:pt idx="5">
                  <c:v>9.5669425233780844E-2</c:v>
                </c:pt>
                <c:pt idx="6">
                  <c:v>6.2859282567442859E-2</c:v>
                </c:pt>
                <c:pt idx="7">
                  <c:v>1.480286160797324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Yopro</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3">
                  <c:v>1.1758682358925488E-2</c:v>
                </c:pt>
                <c:pt idx="4">
                  <c:v>0.25351807362050172</c:v>
                </c:pt>
                <c:pt idx="5">
                  <c:v>4.6473504154515649E-2</c:v>
                </c:pt>
                <c:pt idx="6">
                  <c:v>8.187908941005839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4">
                  <c:v>3.525284429562189E-6</c:v>
                </c:pt>
                <c:pt idx="6">
                  <c:v>0.13540021400399369</c:v>
                </c:pt>
                <c:pt idx="7">
                  <c:v>2.9976262657533743E-2</c:v>
                </c:pt>
                <c:pt idx="8">
                  <c:v>2.140924462897278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Valio Profeel</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5">
                  <c:v>2.7087003635145111E-3</c:v>
                </c:pt>
                <c:pt idx="6">
                  <c:v>9.4195856342223841E-2</c:v>
                </c:pt>
                <c:pt idx="7">
                  <c:v>5.6404550872995022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3">
                  <c:v>9.8946401447340768E-3</c:v>
                </c:pt>
                <c:pt idx="4">
                  <c:v>2.5214116161839527E-3</c:v>
                </c:pt>
                <c:pt idx="5">
                  <c:v>2.1194138182688955E-2</c:v>
                </c:pt>
                <c:pt idx="6">
                  <c:v>7.2577530298537751E-2</c:v>
                </c:pt>
                <c:pt idx="7">
                  <c:v>1.3718868693923142E-2</c:v>
                </c:pt>
                <c:pt idx="8">
                  <c:v>2.85178204409835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6">
                  <c:v>0.84089999999999998</c:v>
                </c:pt>
                <c:pt idx="7">
                  <c:v>0.1590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4.1043629909785218E-3</c:v>
                </c:pt>
                <c:pt idx="4">
                  <c:v>0.24794941996196515</c:v>
                </c:pt>
                <c:pt idx="5">
                  <c:v>0.43898033183578172</c:v>
                </c:pt>
                <c:pt idx="6">
                  <c:v>0.25392034321056445</c:v>
                </c:pt>
                <c:pt idx="7">
                  <c:v>5.504554200071015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6">
                  <c:v>8.7898973559395396E-2</c:v>
                </c:pt>
                <c:pt idx="7">
                  <c:v>1.663638351683407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Yopro</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3">
                  <c:v>4.1008151467718515E-3</c:v>
                </c:pt>
                <c:pt idx="4">
                  <c:v>0.24794941996196515</c:v>
                </c:pt>
                <c:pt idx="5">
                  <c:v>0.428538287201339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5">
                  <c:v>1.7405132370560106E-3</c:v>
                </c:pt>
                <c:pt idx="6">
                  <c:v>9.8396059054655233E-2</c:v>
                </c:pt>
                <c:pt idx="7">
                  <c:v>3.840915848387608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indahls Pro+</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3">
                  <c:v>2.85798561092941E-6</c:v>
                </c:pt>
                <c:pt idx="5">
                  <c:v>8.6337774281618207E-3</c:v>
                </c:pt>
                <c:pt idx="6">
                  <c:v>5.211797922283881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3">
                  <c:v>6.8985859574158168E-7</c:v>
                </c:pt>
                <c:pt idx="4">
                  <c:v>6.775396922461963E-5</c:v>
                </c:pt>
                <c:pt idx="6">
                  <c:v>1.550733137367501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7">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2.4281646242917912E-2</c:v>
                </c:pt>
                <c:pt idx="4">
                  <c:v>0.10911312037401034</c:v>
                </c:pt>
                <c:pt idx="5">
                  <c:v>0.39882741333468597</c:v>
                </c:pt>
                <c:pt idx="6">
                  <c:v>0.37179535953265619</c:v>
                </c:pt>
                <c:pt idx="7">
                  <c:v>9.598246051572960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 Group</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0">
                  <c:v>3.9749013680699823E-2</c:v>
                </c:pt>
                <c:pt idx="1">
                  <c:v>4.5192110140544021E-2</c:v>
                </c:pt>
                <c:pt idx="2">
                  <c:v>2.3182764861974622E-2</c:v>
                </c:pt>
                <c:pt idx="3">
                  <c:v>8.1888215867676126E-2</c:v>
                </c:pt>
                <c:pt idx="4">
                  <c:v>0.17120889421661548</c:v>
                </c:pt>
                <c:pt idx="5">
                  <c:v>5.2199299922998779E-2</c:v>
                </c:pt>
                <c:pt idx="6">
                  <c:v>7.6864374896274623E-2</c:v>
                </c:pt>
                <c:pt idx="7">
                  <c:v>7.6129809109721738E-2</c:v>
                </c:pt>
                <c:pt idx="8">
                  <c:v>1.985764170143742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4">
                  <c:v>5.7649917895800179E-2</c:v>
                </c:pt>
                <c:pt idx="6">
                  <c:v>0.10873601271377226</c:v>
                </c:pt>
                <c:pt idx="7">
                  <c:v>0.11306187847010563</c:v>
                </c:pt>
                <c:pt idx="8">
                  <c:v>1.710108135838354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 Marcas</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4">
                  <c:v>7.0918332874238543E-3</c:v>
                </c:pt>
                <c:pt idx="5">
                  <c:v>1.6041331963754103E-2</c:v>
                </c:pt>
                <c:pt idx="6">
                  <c:v>1.2426302150277667E-2</c:v>
                </c:pt>
                <c:pt idx="7">
                  <c:v>1.532774166403961E-2</c:v>
                </c:pt>
                <c:pt idx="8">
                  <c:v>1.016760240290939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Nestle</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4">
                  <c:v>7.1562428631700556E-3</c:v>
                </c:pt>
                <c:pt idx="6">
                  <c:v>1.524686950922933E-2</c:v>
                </c:pt>
                <c:pt idx="7">
                  <c:v>4.0325055636419469E-3</c:v>
                </c:pt>
                <c:pt idx="8">
                  <c:v>1.2100313422504295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0">
                  <c:v>3.3574338852125169E-3</c:v>
                </c:pt>
                <c:pt idx="2">
                  <c:v>1.9754883003289697E-3</c:v>
                </c:pt>
                <c:pt idx="3">
                  <c:v>4.6466635807982425E-3</c:v>
                </c:pt>
                <c:pt idx="4">
                  <c:v>8.8649399208029188E-3</c:v>
                </c:pt>
                <c:pt idx="5">
                  <c:v>1.8755072651353021E-2</c:v>
                </c:pt>
                <c:pt idx="6">
                  <c:v>1.7712251957717404E-2</c:v>
                </c:pt>
                <c:pt idx="7">
                  <c:v>1.893938149984519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7">
                  <c:v>9.598246051572960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Yopro</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3">
                  <c:v>2.4281646242917912E-2</c:v>
                </c:pt>
                <c:pt idx="4">
                  <c:v>0.10911312037401034</c:v>
                </c:pt>
                <c:pt idx="5">
                  <c:v>0.3988274133346859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argui</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6">
                  <c:v>0.1944701590642978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indahls Pro+</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6">
                  <c:v>0.1773252004683583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6">
                  <c:v>0.54249999999999998</c:v>
                </c:pt>
                <c:pt idx="7">
                  <c:v>0.4575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2.1454350408220711E-2</c:v>
                </c:pt>
                <c:pt idx="4">
                  <c:v>0.37273458809371379</c:v>
                </c:pt>
                <c:pt idx="5">
                  <c:v>0.17310853679774996</c:v>
                </c:pt>
                <c:pt idx="6">
                  <c:v>0.3754602001266536</c:v>
                </c:pt>
                <c:pt idx="7">
                  <c:v>5.724232457366195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6">
                  <c:v>6.7864286333605875E-2</c:v>
                </c:pt>
                <c:pt idx="7">
                  <c:v>5.724232457366195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Yopro</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3">
                  <c:v>2.1442176951870874E-2</c:v>
                </c:pt>
                <c:pt idx="4">
                  <c:v>0.3727209240100558</c:v>
                </c:pt>
                <c:pt idx="5">
                  <c:v>0.11915975326143044</c:v>
                </c:pt>
                <c:pt idx="6">
                  <c:v>1.2421894234526853E-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4">
                  <c:v>1.3664083657979539E-5</c:v>
                </c:pt>
                <c:pt idx="6">
                  <c:v>0.2698701241270203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indahls Pro+</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3">
                  <c:v>1.2173456349836318E-5</c:v>
                </c:pt>
                <c:pt idx="5">
                  <c:v>5.394878353631951E-2</c:v>
                </c:pt>
                <c:pt idx="6">
                  <c:v>3.772454747660398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3.2000000000000002E-3</c:v>
                </c:pt>
                <c:pt idx="5">
                  <c:v>0.47710000000000002</c:v>
                </c:pt>
                <c:pt idx="6">
                  <c:v>0.51659999999999995</c:v>
                </c:pt>
                <c:pt idx="7">
                  <c:v>3.0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1.5544039962682176E-2</c:v>
                </c:pt>
                <c:pt idx="4">
                  <c:v>0.20572559592081768</c:v>
                </c:pt>
                <c:pt idx="5">
                  <c:v>0.11099175425848956</c:v>
                </c:pt>
                <c:pt idx="6">
                  <c:v>0.40694527433086763</c:v>
                </c:pt>
                <c:pt idx="7">
                  <c:v>0.17318895480238086</c:v>
                </c:pt>
                <c:pt idx="8">
                  <c:v>8.760408103536393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3">
                  <c:v>4.8870599899381777E-4</c:v>
                </c:pt>
                <c:pt idx="4">
                  <c:v>1.4534935810838949E-5</c:v>
                </c:pt>
                <c:pt idx="5">
                  <c:v>7.3609647541167736E-2</c:v>
                </c:pt>
                <c:pt idx="6">
                  <c:v>7.9700709688220253E-2</c:v>
                </c:pt>
                <c:pt idx="7">
                  <c:v>4.6244571547990516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Yopro</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3">
                  <c:v>3.2553760875306823E-5</c:v>
                </c:pt>
                <c:pt idx="4">
                  <c:v>0.15838107687216624</c:v>
                </c:pt>
                <c:pt idx="5">
                  <c:v>9.5575194673550405E-3</c:v>
                </c:pt>
                <c:pt idx="6">
                  <c:v>9.778221978513693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3">
                  <c:v>6.4351305502585799E-3</c:v>
                </c:pt>
                <c:pt idx="4">
                  <c:v>4.0233751237295778E-2</c:v>
                </c:pt>
                <c:pt idx="5">
                  <c:v>2.373789774605227E-3</c:v>
                </c:pt>
                <c:pt idx="6">
                  <c:v>0.10780524429724478</c:v>
                </c:pt>
                <c:pt idx="7">
                  <c:v>0.15610831988591622</c:v>
                </c:pt>
                <c:pt idx="8">
                  <c:v>7.174910083503081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Valio Profeel</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6">
                  <c:v>7.537469322575715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3">
                  <c:v>8.5876496525544715E-3</c:v>
                </c:pt>
                <c:pt idx="4">
                  <c:v>7.0962328755448745E-3</c:v>
                </c:pt>
                <c:pt idx="5">
                  <c:v>2.5450797475361567E-2</c:v>
                </c:pt>
                <c:pt idx="6">
                  <c:v>4.6282407334508426E-2</c:v>
                </c:pt>
                <c:pt idx="7">
                  <c:v>1.6618189200984734E-2</c:v>
                </c:pt>
                <c:pt idx="8">
                  <c:v>1.585498020033312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5">
                  <c:v>0.31640000000000001</c:v>
                </c:pt>
                <c:pt idx="6">
                  <c:v>0.6835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4">
                  <c:v>0.18019944209664757</c:v>
                </c:pt>
                <c:pt idx="5">
                  <c:v>0.16865547690543098</c:v>
                </c:pt>
                <c:pt idx="6">
                  <c:v>0.60852453708284127</c:v>
                </c:pt>
                <c:pt idx="7">
                  <c:v>1.8159912592571652E-2</c:v>
                </c:pt>
                <c:pt idx="8">
                  <c:v>2.446063132250848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5">
                  <c:v>9.7048457413934225E-2</c:v>
                </c:pt>
                <c:pt idx="6">
                  <c:v>0.2097174377562571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Valio Profe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6">
                  <c:v>0.19208304904932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Yopro</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4">
                  <c:v>0.18019944209664757</c:v>
                </c:pt>
                <c:pt idx="5">
                  <c:v>8.9947246310518227E-3</c:v>
                </c:pt>
                <c:pt idx="6">
                  <c:v>7.994601709001962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Reina</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5">
                  <c:v>3.8904186330982395E-2</c:v>
                </c:pt>
                <c:pt idx="6">
                  <c:v>0.12677803318724026</c:v>
                </c:pt>
                <c:pt idx="7">
                  <c:v>3.828572138325424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4">
                  <c:v>2.3708108529462531E-2</c:v>
                </c:pt>
                <c:pt idx="6">
                  <c:v>1.4331340454246229E-2</c:v>
                </c:pt>
                <c:pt idx="8">
                  <c:v>2.446063132250848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0.13059999999999999</c:v>
                </c:pt>
                <c:pt idx="1">
                  <c:v>7.4999999999999997E-3</c:v>
                </c:pt>
                <c:pt idx="2">
                  <c:v>7.8700000000000006E-2</c:v>
                </c:pt>
                <c:pt idx="3">
                  <c:v>0.15579999999999999</c:v>
                </c:pt>
                <c:pt idx="4">
                  <c:v>0.2656</c:v>
                </c:pt>
                <c:pt idx="5">
                  <c:v>0.15049999999999999</c:v>
                </c:pt>
                <c:pt idx="6">
                  <c:v>0.1166</c:v>
                </c:pt>
                <c:pt idx="7">
                  <c:v>7.5600000000000001E-2</c:v>
                </c:pt>
                <c:pt idx="8">
                  <c:v>1.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6.3E-3</c:v>
                </c:pt>
                <c:pt idx="5">
                  <c:v>0.67400000000000004</c:v>
                </c:pt>
                <c:pt idx="6">
                  <c:v>0.3195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2.2927281448757893E-2</c:v>
                </c:pt>
                <c:pt idx="4">
                  <c:v>0.21546907348873706</c:v>
                </c:pt>
                <c:pt idx="5">
                  <c:v>0.16359002652545554</c:v>
                </c:pt>
                <c:pt idx="6">
                  <c:v>0.47175592261757443</c:v>
                </c:pt>
                <c:pt idx="7">
                  <c:v>5.8942193476450036E-2</c:v>
                </c:pt>
                <c:pt idx="8">
                  <c:v>6.728682347325301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3">
                  <c:v>1.2047758777384422E-3</c:v>
                </c:pt>
                <c:pt idx="5">
                  <c:v>0.1289339102643674</c:v>
                </c:pt>
                <c:pt idx="6">
                  <c:v>6.1119030941066702E-2</c:v>
                </c:pt>
                <c:pt idx="7">
                  <c:v>4.6560134659856618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Yopro</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3">
                  <c:v>8.391708426097275E-3</c:v>
                </c:pt>
                <c:pt idx="4">
                  <c:v>0.21207096110051918</c:v>
                </c:pt>
                <c:pt idx="5">
                  <c:v>2.1200323726828667E-2</c:v>
                </c:pt>
                <c:pt idx="6">
                  <c:v>0.1103482102033727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Valio Profeel</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5">
                  <c:v>3.6505218751865321E-3</c:v>
                </c:pt>
                <c:pt idx="6">
                  <c:v>0.12694797799010005</c:v>
                </c:pt>
                <c:pt idx="7">
                  <c:v>7.6016546383439381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6">
                  <c:v>8.8644708768949171E-2</c:v>
                </c:pt>
                <c:pt idx="7">
                  <c:v>4.039907995791793E-2</c:v>
                </c:pt>
                <c:pt idx="8">
                  <c:v>2.885328953398142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3">
                  <c:v>1.3330797144922177E-2</c:v>
                </c:pt>
                <c:pt idx="4">
                  <c:v>3.3981123882178845E-3</c:v>
                </c:pt>
                <c:pt idx="5">
                  <c:v>9.805270659072959E-3</c:v>
                </c:pt>
                <c:pt idx="6">
                  <c:v>8.4695994714085787E-2</c:v>
                </c:pt>
                <c:pt idx="7">
                  <c:v>1.8488951729233899E-2</c:v>
                </c:pt>
                <c:pt idx="8">
                  <c:v>3.843353393927159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2.3999999999999998E-3</c:v>
                </c:pt>
                <c:pt idx="4">
                  <c:v>0.50480000000000003</c:v>
                </c:pt>
                <c:pt idx="5">
                  <c:v>0.26960000000000001</c:v>
                </c:pt>
                <c:pt idx="6">
                  <c:v>0.2230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4.6396655036188672E-2</c:v>
                </c:pt>
                <c:pt idx="1">
                  <c:v>3.0362740978416514E-2</c:v>
                </c:pt>
                <c:pt idx="2">
                  <c:v>1.8946752727276375E-2</c:v>
                </c:pt>
                <c:pt idx="3">
                  <c:v>7.2678361135204678E-2</c:v>
                </c:pt>
                <c:pt idx="4">
                  <c:v>0.19587921798221514</c:v>
                </c:pt>
                <c:pt idx="5">
                  <c:v>0.14723136972155007</c:v>
                </c:pt>
                <c:pt idx="6">
                  <c:v>0.23025790532698559</c:v>
                </c:pt>
                <c:pt idx="7">
                  <c:v>0.19996308959051215</c:v>
                </c:pt>
                <c:pt idx="8">
                  <c:v>5.828390750165081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Yopr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3">
                  <c:v>4.5154600233367351E-5</c:v>
                </c:pt>
                <c:pt idx="4">
                  <c:v>9.3201206645355406E-3</c:v>
                </c:pt>
                <c:pt idx="5">
                  <c:v>4.9780362293136158E-3</c:v>
                </c:pt>
                <c:pt idx="6">
                  <c:v>4.119720033187224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0">
                  <c:v>7.2601741045622046E-8</c:v>
                </c:pt>
                <c:pt idx="1">
                  <c:v>1.7263273551802378E-4</c:v>
                </c:pt>
                <c:pt idx="2">
                  <c:v>2.3498710908475724E-4</c:v>
                </c:pt>
                <c:pt idx="3">
                  <c:v>5.3625887120476549E-3</c:v>
                </c:pt>
                <c:pt idx="4">
                  <c:v>4.4775331368642889E-2</c:v>
                </c:pt>
                <c:pt idx="5">
                  <c:v>6.5217998251700618E-2</c:v>
                </c:pt>
                <c:pt idx="6">
                  <c:v>0.13996115500664108</c:v>
                </c:pt>
                <c:pt idx="7">
                  <c:v>0.14529927009266191</c:v>
                </c:pt>
                <c:pt idx="8">
                  <c:v>4.048390032638917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ctivia</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0">
                  <c:v>1.3659765049938847E-3</c:v>
                </c:pt>
                <c:pt idx="1">
                  <c:v>2.2754648282672656E-3</c:v>
                </c:pt>
                <c:pt idx="2">
                  <c:v>6.4769275825774138E-4</c:v>
                </c:pt>
                <c:pt idx="3">
                  <c:v>3.4235045852310859E-2</c:v>
                </c:pt>
                <c:pt idx="4">
                  <c:v>6.0792389722202293E-2</c:v>
                </c:pt>
                <c:pt idx="5">
                  <c:v>1.6194411780544111E-2</c:v>
                </c:pt>
                <c:pt idx="6">
                  <c:v>5.9280231716011336E-3</c:v>
                </c:pt>
                <c:pt idx="7">
                  <c:v>1.6093228101907715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Danacol</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0">
                  <c:v>3.6094288581860583E-2</c:v>
                </c:pt>
                <c:pt idx="1">
                  <c:v>1.8369818783260762E-5</c:v>
                </c:pt>
                <c:pt idx="2">
                  <c:v>1.4236540111883481E-2</c:v>
                </c:pt>
                <c:pt idx="3">
                  <c:v>2.153054610167337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0">
                  <c:v>8.9363173475931618E-3</c:v>
                </c:pt>
                <c:pt idx="1">
                  <c:v>2.789627359584796E-2</c:v>
                </c:pt>
                <c:pt idx="2">
                  <c:v>3.8275327480503996E-3</c:v>
                </c:pt>
                <c:pt idx="3">
                  <c:v>3.0882517360445456E-2</c:v>
                </c:pt>
                <c:pt idx="4">
                  <c:v>8.0991376226834416E-2</c:v>
                </c:pt>
                <c:pt idx="5">
                  <c:v>6.0840923459991716E-2</c:v>
                </c:pt>
                <c:pt idx="6">
                  <c:v>8.0249007115556173E-2</c:v>
                </c:pt>
                <c:pt idx="7">
                  <c:v>5.4502887216831157E-2</c:v>
                </c:pt>
                <c:pt idx="8">
                  <c:v>1.780000717526163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1.7100000000000001E-2</c:v>
                </c:pt>
                <c:pt idx="4">
                  <c:v>0.49509999999999998</c:v>
                </c:pt>
                <c:pt idx="5">
                  <c:v>0.30220000000000002</c:v>
                </c:pt>
                <c:pt idx="6">
                  <c:v>0.185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4.3106447565912337E-2</c:v>
                </c:pt>
                <c:pt idx="1">
                  <c:v>4.5192110140544028E-2</c:v>
                </c:pt>
                <c:pt idx="2">
                  <c:v>2.5158253162303593E-2</c:v>
                </c:pt>
                <c:pt idx="3">
                  <c:v>8.653487944847435E-2</c:v>
                </c:pt>
                <c:pt idx="4">
                  <c:v>0.25197182818381247</c:v>
                </c:pt>
                <c:pt idx="5">
                  <c:v>8.69957045381059E-2</c:v>
                </c:pt>
                <c:pt idx="6">
                  <c:v>0.2309858112272713</c:v>
                </c:pt>
                <c:pt idx="7">
                  <c:v>0.20874132862250738</c:v>
                </c:pt>
                <c:pt idx="8">
                  <c:v>2.131363711106865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Yopr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3">
                  <c:v>3.6512178251127891E-4</c:v>
                </c:pt>
                <c:pt idx="4">
                  <c:v>1.0554928539164761E-2</c:v>
                </c:pt>
                <c:pt idx="5">
                  <c:v>6.4421016920840485E-3</c:v>
                </c:pt>
                <c:pt idx="6">
                  <c:v>3.95481151289809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lipende</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4">
                  <c:v>5.7649917895800179E-2</c:v>
                </c:pt>
                <c:pt idx="6">
                  <c:v>0.10873601271377226</c:v>
                </c:pt>
                <c:pt idx="7">
                  <c:v>0.11306187847010563</c:v>
                </c:pt>
                <c:pt idx="8">
                  <c:v>1.710108135838354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ctivia</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1">
                  <c:v>5.0010645589254501E-4</c:v>
                </c:pt>
                <c:pt idx="2">
                  <c:v>3.5971900559835743E-4</c:v>
                </c:pt>
                <c:pt idx="3">
                  <c:v>4.6999667422003129E-2</c:v>
                </c:pt>
                <c:pt idx="4">
                  <c:v>0.10720236562811805</c:v>
                </c:pt>
                <c:pt idx="5">
                  <c:v>1.3417573995955884E-2</c:v>
                </c:pt>
                <c:pt idx="6">
                  <c:v>2.306413683085522E-3</c:v>
                </c:pt>
                <c:pt idx="7">
                  <c:v>4.8366506418890938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Danone</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4">
                  <c:v>2.7333389960085344E-3</c:v>
                </c:pt>
                <c:pt idx="5">
                  <c:v>4.8008440027407125E-3</c:v>
                </c:pt>
                <c:pt idx="6">
                  <c:v>5.0760360338524019E-2</c:v>
                </c:pt>
                <c:pt idx="7">
                  <c:v>4.7737601998866432E-2</c:v>
                </c:pt>
                <c:pt idx="8">
                  <c:v>1.985764170143742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0">
                  <c:v>4.3106447565912337E-2</c:v>
                </c:pt>
                <c:pt idx="1">
                  <c:v>4.4692003684651482E-2</c:v>
                </c:pt>
                <c:pt idx="2">
                  <c:v>2.4798534156705236E-2</c:v>
                </c:pt>
                <c:pt idx="3">
                  <c:v>3.9170090243959954E-2</c:v>
                </c:pt>
                <c:pt idx="4">
                  <c:v>7.3831277124720943E-2</c:v>
                </c:pt>
                <c:pt idx="5">
                  <c:v>6.233518484732526E-2</c:v>
                </c:pt>
                <c:pt idx="6">
                  <c:v>6.5228212978991396E-2</c:v>
                </c:pt>
                <c:pt idx="7">
                  <c:v>4.7458183089346399E-2</c:v>
                </c:pt>
                <c:pt idx="8">
                  <c:v>2.22679158254136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2.9899999999999999E-2</c:v>
                </c:pt>
                <c:pt idx="4">
                  <c:v>0.64410000000000001</c:v>
                </c:pt>
                <c:pt idx="5">
                  <c:v>0.1181</c:v>
                </c:pt>
                <c:pt idx="6">
                  <c:v>0.2079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6.9673006843111229E-2</c:v>
                </c:pt>
                <c:pt idx="1">
                  <c:v>6.5981323981580582E-3</c:v>
                </c:pt>
                <c:pt idx="2">
                  <c:v>4.6776255533991146E-2</c:v>
                </c:pt>
                <c:pt idx="3">
                  <c:v>0.1172284733644462</c:v>
                </c:pt>
                <c:pt idx="4">
                  <c:v>0.20461534341378729</c:v>
                </c:pt>
                <c:pt idx="5">
                  <c:v>0.14628748473077063</c:v>
                </c:pt>
                <c:pt idx="6">
                  <c:v>0.23106874540586081</c:v>
                </c:pt>
                <c:pt idx="7">
                  <c:v>0.14149551526282464</c:v>
                </c:pt>
                <c:pt idx="8">
                  <c:v>3.625704304705004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0">
                  <c:v>6.9673006843111229E-2</c:v>
                </c:pt>
                <c:pt idx="1">
                  <c:v>6.5981323981580582E-3</c:v>
                </c:pt>
                <c:pt idx="2">
                  <c:v>4.6776255533991139E-2</c:v>
                </c:pt>
                <c:pt idx="3">
                  <c:v>0.1172284733644462</c:v>
                </c:pt>
                <c:pt idx="4">
                  <c:v>0.20461534341378726</c:v>
                </c:pt>
                <c:pt idx="5">
                  <c:v>0.14628748473077063</c:v>
                </c:pt>
                <c:pt idx="6">
                  <c:v>0.23106874540586078</c:v>
                </c:pt>
                <c:pt idx="7">
                  <c:v>0.14149551526282464</c:v>
                </c:pt>
                <c:pt idx="8">
                  <c:v>3.625704304705003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Yopr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3">
                  <c:v>9.2299240987741649E-4</c:v>
                </c:pt>
                <c:pt idx="4">
                  <c:v>1.9899785586167472E-2</c:v>
                </c:pt>
                <c:pt idx="5">
                  <c:v>3.6479165169782048E-3</c:v>
                </c:pt>
                <c:pt idx="6">
                  <c:v>6.427061786884104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1">
                  <c:v>9.449736904096176E-4</c:v>
                </c:pt>
                <c:pt idx="2">
                  <c:v>1.4534863903296533E-3</c:v>
                </c:pt>
                <c:pt idx="3">
                  <c:v>1.5904485343937184E-2</c:v>
                </c:pt>
                <c:pt idx="4">
                  <c:v>4.1556498851622742E-2</c:v>
                </c:pt>
                <c:pt idx="5">
                  <c:v>3.7985343240362041E-2</c:v>
                </c:pt>
                <c:pt idx="6">
                  <c:v>0.12830107175823494</c:v>
                </c:pt>
                <c:pt idx="7">
                  <c:v>8.8232739307632729E-2</c:v>
                </c:pt>
                <c:pt idx="8">
                  <c:v>1.845860046177996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ctivia</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0">
                  <c:v>9.7342860647873421E-3</c:v>
                </c:pt>
                <c:pt idx="1">
                  <c:v>1.0290348566105829E-3</c:v>
                </c:pt>
                <c:pt idx="2">
                  <c:v>6.0952797899291936E-3</c:v>
                </c:pt>
                <c:pt idx="3">
                  <c:v>4.7191696201737861E-2</c:v>
                </c:pt>
                <c:pt idx="4">
                  <c:v>3.9000944812692243E-2</c:v>
                </c:pt>
                <c:pt idx="5">
                  <c:v>2.3211915276869725E-2</c:v>
                </c:pt>
                <c:pt idx="6">
                  <c:v>7.1148006613059945E-3</c:v>
                </c:pt>
                <c:pt idx="7">
                  <c:v>2.1081703292751046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lpro</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2">
                  <c:v>6.1632109526084751E-6</c:v>
                </c:pt>
                <c:pt idx="3">
                  <c:v>1.2899122560511172E-3</c:v>
                </c:pt>
                <c:pt idx="4">
                  <c:v>2.959049649172172E-2</c:v>
                </c:pt>
                <c:pt idx="5">
                  <c:v>2.0226959010687617E-2</c:v>
                </c:pt>
                <c:pt idx="6">
                  <c:v>3.3271276758857016E-5</c:v>
                </c:pt>
                <c:pt idx="7">
                  <c:v>9.1697510351062487E-4</c:v>
                </c:pt>
                <c:pt idx="8">
                  <c:v>1.4087339320247943E-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0">
                  <c:v>5.9938720778323885E-2</c:v>
                </c:pt>
                <c:pt idx="1">
                  <c:v>4.6241238511378581E-3</c:v>
                </c:pt>
                <c:pt idx="2">
                  <c:v>3.9221326142779685E-2</c:v>
                </c:pt>
                <c:pt idx="3">
                  <c:v>5.1919387152842618E-2</c:v>
                </c:pt>
                <c:pt idx="4">
                  <c:v>7.456761767158307E-2</c:v>
                </c:pt>
                <c:pt idx="5">
                  <c:v>6.1215350685873055E-2</c:v>
                </c:pt>
                <c:pt idx="6">
                  <c:v>8.9192539922676908E-2</c:v>
                </c:pt>
                <c:pt idx="7">
                  <c:v>5.2134983818753783E-2</c:v>
                </c:pt>
                <c:pt idx="8">
                  <c:v>1.779830171187687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2.3999999999999998E-3</c:v>
                </c:pt>
                <c:pt idx="4">
                  <c:v>0.50480000000000003</c:v>
                </c:pt>
                <c:pt idx="5">
                  <c:v>0.26960000000000001</c:v>
                </c:pt>
                <c:pt idx="6">
                  <c:v>0.2230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1.3231188079706802E-2</c:v>
                </c:pt>
                <c:pt idx="4">
                  <c:v>0.21426232743706128</c:v>
                </c:pt>
                <c:pt idx="5">
                  <c:v>0.17730385390260056</c:v>
                </c:pt>
                <c:pt idx="6">
                  <c:v>0.3760069881398142</c:v>
                </c:pt>
                <c:pt idx="7">
                  <c:v>0.14930294688140833</c:v>
                </c:pt>
                <c:pt idx="8">
                  <c:v>6.98924564606366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Yopr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3">
                  <c:v>8.5506702152776605E-4</c:v>
                </c:pt>
                <c:pt idx="4">
                  <c:v>0.17648983217029546</c:v>
                </c:pt>
                <c:pt idx="5">
                  <c:v>9.426624507044333E-2</c:v>
                </c:pt>
                <c:pt idx="6">
                  <c:v>7.801279869825064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3">
                  <c:v>5.1340882352375657E-3</c:v>
                </c:pt>
                <c:pt idx="4">
                  <c:v>3.209936881211755E-2</c:v>
                </c:pt>
                <c:pt idx="5">
                  <c:v>2.2457551425139762E-3</c:v>
                </c:pt>
                <c:pt idx="6">
                  <c:v>0.10590291332588812</c:v>
                </c:pt>
                <c:pt idx="7">
                  <c:v>0.13231212985828905</c:v>
                </c:pt>
                <c:pt idx="8">
                  <c:v>5.724300565607073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Danone</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3">
                  <c:v>3.8990036026904869E-4</c:v>
                </c:pt>
                <c:pt idx="4">
                  <c:v>1.1596290450294419E-5</c:v>
                </c:pt>
                <c:pt idx="5">
                  <c:v>5.8727390608401472E-2</c:v>
                </c:pt>
                <c:pt idx="6">
                  <c:v>8.1358218906223342E-2</c:v>
                </c:pt>
                <c:pt idx="7">
                  <c:v>3.732461345424531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Valio Profeel</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6">
                  <c:v>6.013558275200036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3">
                  <c:v>6.8521324626724224E-3</c:v>
                </c:pt>
                <c:pt idx="4">
                  <c:v>5.6615301641979934E-3</c:v>
                </c:pt>
                <c:pt idx="5">
                  <c:v>2.206446308124177E-2</c:v>
                </c:pt>
                <c:pt idx="6">
                  <c:v>5.059747445745176E-2</c:v>
                </c:pt>
                <c:pt idx="7">
                  <c:v>1.3258355677694737E-2</c:v>
                </c:pt>
                <c:pt idx="8">
                  <c:v>1.264945080456587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1.7100000000000001E-2</c:v>
                </c:pt>
                <c:pt idx="4">
                  <c:v>0.49509999999999998</c:v>
                </c:pt>
                <c:pt idx="5">
                  <c:v>0.30220000000000002</c:v>
                </c:pt>
                <c:pt idx="6">
                  <c:v>0.185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5.6603228220090743E-3</c:v>
                </c:pt>
                <c:pt idx="4">
                  <c:v>0.16362842688812643</c:v>
                </c:pt>
                <c:pt idx="5">
                  <c:v>0.22231112495015642</c:v>
                </c:pt>
                <c:pt idx="6">
                  <c:v>0.55334032292711566</c:v>
                </c:pt>
                <c:pt idx="7">
                  <c:v>3.6301217332353211E-2</c:v>
                </c:pt>
                <c:pt idx="8">
                  <c:v>1.875858508023909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Yopr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3">
                  <c:v>5.6603228220090743E-3</c:v>
                </c:pt>
                <c:pt idx="4">
                  <c:v>0.16362842688812643</c:v>
                </c:pt>
                <c:pt idx="5">
                  <c:v>9.9869076499921494E-2</c:v>
                </c:pt>
                <c:pt idx="6">
                  <c:v>6.130970798081540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Danone</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5">
                  <c:v>7.4425378531830566E-2</c:v>
                </c:pt>
                <c:pt idx="6">
                  <c:v>0.16082996170832503</c:v>
                </c:pt>
                <c:pt idx="7">
                  <c:v>2.237458310423363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Valio Profeel</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6">
                  <c:v>0.1473063458810993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Reina</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5">
                  <c:v>2.9835186166910711E-2</c:v>
                </c:pt>
                <c:pt idx="6">
                  <c:v>9.722465828835096E-2</c:v>
                </c:pt>
                <c:pt idx="7">
                  <c:v>2.936089230310399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4">
                  <c:v>1.8181483751493664E-2</c:v>
                </c:pt>
                <c:pt idx="6">
                  <c:v>8.6669649068524951E-2</c:v>
                </c:pt>
                <c:pt idx="7">
                  <c:v>1.0990544997809182E-2</c:v>
                </c:pt>
                <c:pt idx="8">
                  <c:v>1.875858508023909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2.9899999999999999E-2</c:v>
                </c:pt>
                <c:pt idx="4">
                  <c:v>0.64410000000000001</c:v>
                </c:pt>
                <c:pt idx="5">
                  <c:v>0.1181</c:v>
                </c:pt>
                <c:pt idx="6">
                  <c:v>0.2079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2.2547270538916E-2</c:v>
                </c:pt>
                <c:pt idx="4">
                  <c:v>0.25604301052111522</c:v>
                </c:pt>
                <c:pt idx="5">
                  <c:v>0.16604576793449996</c:v>
                </c:pt>
                <c:pt idx="6">
                  <c:v>0.44691197262225651</c:v>
                </c:pt>
                <c:pt idx="7">
                  <c:v>5.8503633414517434E-2</c:v>
                </c:pt>
                <c:pt idx="8">
                  <c:v>4.992706506995638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Danone Group</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0">
                  <c:v>6.6349013600224285E-2</c:v>
                </c:pt>
                <c:pt idx="1">
                  <c:v>3.8208386071342483E-3</c:v>
                </c:pt>
                <c:pt idx="2">
                  <c:v>3.9987083721072673E-2</c:v>
                </c:pt>
                <c:pt idx="3">
                  <c:v>7.9127991281104204E-2</c:v>
                </c:pt>
                <c:pt idx="4">
                  <c:v>0.13488440238772151</c:v>
                </c:pt>
                <c:pt idx="5">
                  <c:v>7.6461831503739294E-2</c:v>
                </c:pt>
                <c:pt idx="6">
                  <c:v>5.924077361408743E-2</c:v>
                </c:pt>
                <c:pt idx="7">
                  <c:v>3.8383813695420481E-2</c:v>
                </c:pt>
                <c:pt idx="8">
                  <c:v>9.628792018049142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1">
                  <c:v>9.449736904096176E-4</c:v>
                </c:pt>
                <c:pt idx="2">
                  <c:v>1.4534863903296533E-3</c:v>
                </c:pt>
                <c:pt idx="3">
                  <c:v>1.5904485343937184E-2</c:v>
                </c:pt>
                <c:pt idx="4">
                  <c:v>4.1556498851622742E-2</c:v>
                </c:pt>
                <c:pt idx="5">
                  <c:v>3.7985343240362041E-2</c:v>
                </c:pt>
                <c:pt idx="6">
                  <c:v>0.12830107175823494</c:v>
                </c:pt>
                <c:pt idx="7">
                  <c:v>8.8232739307632729E-2</c:v>
                </c:pt>
                <c:pt idx="8">
                  <c:v>1.845860046177996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estle</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2">
                  <c:v>8.6385577188806126E-6</c:v>
                </c:pt>
                <c:pt idx="3">
                  <c:v>1.5866318716764539E-3</c:v>
                </c:pt>
                <c:pt idx="4">
                  <c:v>4.8689668397163812E-3</c:v>
                </c:pt>
                <c:pt idx="5">
                  <c:v>7.9355592372593268E-3</c:v>
                </c:pt>
                <c:pt idx="6">
                  <c:v>1.7232513915234799E-2</c:v>
                </c:pt>
                <c:pt idx="7">
                  <c:v>8.5026199256328355E-3</c:v>
                </c:pt>
                <c:pt idx="8">
                  <c:v>2.738357391381167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 Marcas</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0">
                  <c:v>7.7183525897115606E-4</c:v>
                </c:pt>
                <c:pt idx="1">
                  <c:v>8.6814234799550819E-4</c:v>
                </c:pt>
                <c:pt idx="2">
                  <c:v>1.8216590034643334E-3</c:v>
                </c:pt>
                <c:pt idx="3">
                  <c:v>7.2904999697851729E-3</c:v>
                </c:pt>
                <c:pt idx="4">
                  <c:v>2.251197072916536E-3</c:v>
                </c:pt>
                <c:pt idx="5">
                  <c:v>2.5239279621565363E-3</c:v>
                </c:pt>
                <c:pt idx="6">
                  <c:v>1.0854918814135223E-2</c:v>
                </c:pt>
                <c:pt idx="7">
                  <c:v>6.8568614783522553E-4</c:v>
                </c:pt>
                <c:pt idx="8">
                  <c:v>7.078435201089297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0">
                  <c:v>2.5521579839157906E-3</c:v>
                </c:pt>
                <c:pt idx="1">
                  <c:v>9.6417775261868415E-4</c:v>
                </c:pt>
                <c:pt idx="2">
                  <c:v>3.5053878614055962E-3</c:v>
                </c:pt>
                <c:pt idx="3">
                  <c:v>1.3318864897943188E-2</c:v>
                </c:pt>
                <c:pt idx="4">
                  <c:v>2.105427826181009E-2</c:v>
                </c:pt>
                <c:pt idx="5">
                  <c:v>2.138082278725344E-2</c:v>
                </c:pt>
                <c:pt idx="6">
                  <c:v>1.5439467304168413E-2</c:v>
                </c:pt>
                <c:pt idx="7">
                  <c:v>5.6906561863033717E-3</c:v>
                </c:pt>
                <c:pt idx="8">
                  <c:v>4.723449655730834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Yopr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3">
                  <c:v>1.1758682358925488E-2</c:v>
                </c:pt>
                <c:pt idx="4">
                  <c:v>0.25351807362050172</c:v>
                </c:pt>
                <c:pt idx="5">
                  <c:v>4.6473504154515649E-2</c:v>
                </c:pt>
                <c:pt idx="6">
                  <c:v>8.187908941005839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4">
                  <c:v>3.525284429562189E-6</c:v>
                </c:pt>
                <c:pt idx="6">
                  <c:v>0.13540021400399369</c:v>
                </c:pt>
                <c:pt idx="7">
                  <c:v>2.9976262657533743E-2</c:v>
                </c:pt>
                <c:pt idx="8">
                  <c:v>2.140924462897278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Danone</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3">
                  <c:v>8.9394803525643372E-4</c:v>
                </c:pt>
                <c:pt idx="5">
                  <c:v>9.5669425233780844E-2</c:v>
                </c:pt>
                <c:pt idx="6">
                  <c:v>6.2859282567442859E-2</c:v>
                </c:pt>
                <c:pt idx="7">
                  <c:v>1.480286160797324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Valio Profeel</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5">
                  <c:v>2.7087003635145111E-3</c:v>
                </c:pt>
                <c:pt idx="6">
                  <c:v>9.4195856342223841E-2</c:v>
                </c:pt>
                <c:pt idx="7">
                  <c:v>5.6404550872995022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3">
                  <c:v>9.8946401447340768E-3</c:v>
                </c:pt>
                <c:pt idx="4">
                  <c:v>2.5214116161839527E-3</c:v>
                </c:pt>
                <c:pt idx="5">
                  <c:v>2.1194138182688955E-2</c:v>
                </c:pt>
                <c:pt idx="6">
                  <c:v>7.2577530298537751E-2</c:v>
                </c:pt>
                <c:pt idx="7">
                  <c:v>1.3718868693923142E-2</c:v>
                </c:pt>
                <c:pt idx="8">
                  <c:v>2.85178204409835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6.0000000000000001E-3</c:v>
                </c:pt>
                <c:pt idx="4">
                  <c:v>0.36430000000000001</c:v>
                </c:pt>
                <c:pt idx="5">
                  <c:v>0.6297000000000000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4.1043629909785218E-3</c:v>
                </c:pt>
                <c:pt idx="4">
                  <c:v>0.24794941996196515</c:v>
                </c:pt>
                <c:pt idx="5">
                  <c:v>0.43898033183578172</c:v>
                </c:pt>
                <c:pt idx="6">
                  <c:v>0.25392034321056445</c:v>
                </c:pt>
                <c:pt idx="7">
                  <c:v>5.504554200071015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Yopr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3">
                  <c:v>4.1008151467718515E-3</c:v>
                </c:pt>
                <c:pt idx="4">
                  <c:v>0.24794941996196515</c:v>
                </c:pt>
                <c:pt idx="5">
                  <c:v>0.428538287201339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5">
                  <c:v>1.7405132370560106E-3</c:v>
                </c:pt>
                <c:pt idx="6">
                  <c:v>9.8396059054655233E-2</c:v>
                </c:pt>
                <c:pt idx="7">
                  <c:v>3.840915848387608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Danone</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6">
                  <c:v>8.7898973559395396E-2</c:v>
                </c:pt>
                <c:pt idx="7">
                  <c:v>1.663638351683407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indahls Pro+</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3">
                  <c:v>2.85798561092941E-6</c:v>
                </c:pt>
                <c:pt idx="5">
                  <c:v>8.6337774281618207E-3</c:v>
                </c:pt>
                <c:pt idx="6">
                  <c:v>5.211797922283881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pt idx="3">
                  <c:v>6.8985859574158168E-7</c:v>
                </c:pt>
                <c:pt idx="4">
                  <c:v>6.775396922461963E-5</c:v>
                </c:pt>
                <c:pt idx="6">
                  <c:v>1.550733137367501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4.5600000000000002E-2</c:v>
                </c:pt>
                <c:pt idx="4">
                  <c:v>0.20499999999999999</c:v>
                </c:pt>
                <c:pt idx="5">
                  <c:v>0.7493999999999999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2.4281646242917912E-2</c:v>
                </c:pt>
                <c:pt idx="4">
                  <c:v>0.10911312037401034</c:v>
                </c:pt>
                <c:pt idx="5">
                  <c:v>0.39882741333468597</c:v>
                </c:pt>
                <c:pt idx="6">
                  <c:v>0.37179535953265619</c:v>
                </c:pt>
                <c:pt idx="7">
                  <c:v>9.598246051572960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Yopr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3">
                  <c:v>2.4281646242917912E-2</c:v>
                </c:pt>
                <c:pt idx="4">
                  <c:v>0.10911312037401034</c:v>
                </c:pt>
                <c:pt idx="5">
                  <c:v>0.3988274133346859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argui</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6">
                  <c:v>0.1944701590642978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indahls Pro+</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6">
                  <c:v>0.17732520046835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Danone</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7">
                  <c:v>9.598246051572960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4.1799999999999997E-2</c:v>
                </c:pt>
                <c:pt idx="4">
                  <c:v>0.72609999999999997</c:v>
                </c:pt>
                <c:pt idx="5">
                  <c:v>0.232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0</c:f>
              <c:numCache>
                <c:formatCode>General</c:formatCode>
                <c:ptCount val="9"/>
                <c:pt idx="3">
                  <c:v>2.1454350408220711E-2</c:v>
                </c:pt>
                <c:pt idx="4">
                  <c:v>0.37273458809371379</c:v>
                </c:pt>
                <c:pt idx="5">
                  <c:v>0.17310853679774996</c:v>
                </c:pt>
                <c:pt idx="6">
                  <c:v>0.3754602001266536</c:v>
                </c:pt>
                <c:pt idx="7">
                  <c:v>5.724232457366195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Yopr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B$2:$B$10</c:f>
              <c:numCache>
                <c:formatCode>General</c:formatCode>
                <c:ptCount val="9"/>
                <c:pt idx="3">
                  <c:v>2.1442176951870874E-2</c:v>
                </c:pt>
                <c:pt idx="4">
                  <c:v>0.3727209240100558</c:v>
                </c:pt>
                <c:pt idx="5">
                  <c:v>0.11915975326143044</c:v>
                </c:pt>
                <c:pt idx="6">
                  <c:v>1.2421894234526853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C$2:$C$10</c:f>
              <c:numCache>
                <c:formatCode>General</c:formatCode>
                <c:ptCount val="9"/>
                <c:pt idx="4">
                  <c:v>1.3664083657979539E-5</c:v>
                </c:pt>
                <c:pt idx="6">
                  <c:v>0.2698701241270203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Danone</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D$2:$D$10</c:f>
              <c:numCache>
                <c:formatCode>General</c:formatCode>
                <c:ptCount val="9"/>
                <c:pt idx="6">
                  <c:v>6.7864286333605875E-2</c:v>
                </c:pt>
                <c:pt idx="7">
                  <c:v>5.724232457366195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indahls Pro+</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E$2:$E$10</c:f>
              <c:numCache>
                <c:formatCode>General</c:formatCode>
                <c:ptCount val="9"/>
                <c:pt idx="3">
                  <c:v>1.2173456349836318E-5</c:v>
                </c:pt>
                <c:pt idx="5">
                  <c:v>5.394878353631951E-2</c:v>
                </c:pt>
                <c:pt idx="6">
                  <c:v>3.772454747660398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6+ €</c:v>
                </c:pt>
                <c:pt idx="1">
                  <c:v>5-5.99 €</c:v>
                </c:pt>
                <c:pt idx="2">
                  <c:v>4-4.99 €</c:v>
                </c:pt>
                <c:pt idx="3">
                  <c:v>3-3.99 €</c:v>
                </c:pt>
                <c:pt idx="4">
                  <c:v>2.5-2.99 €</c:v>
                </c:pt>
                <c:pt idx="5">
                  <c:v>2-2.49 €</c:v>
                </c:pt>
                <c:pt idx="6">
                  <c:v>1.5-1.99 €</c:v>
                </c:pt>
                <c:pt idx="7">
                  <c:v>1-1.49 €</c:v>
                </c:pt>
                <c:pt idx="8">
                  <c:v>0-0.99 €</c:v>
                </c:pt>
              </c:strCache>
            </c:strRef>
          </c:cat>
          <c:val>
            <c:numRef>
              <c:f>Sheet1!$F$2:$F$10</c:f>
              <c:numCache>
                <c:formatCode>General</c:formatCode>
                <c:ptCount val="9"/>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Yogur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958272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Spoo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4397875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Spoon | Ahorrama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3767406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Spoon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41241675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Yogur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9684744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Yogurt | Ahorrama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7969816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Yogur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4890411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135075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 Ahorrama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42668046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663520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Drink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9223421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Yogurt | Ahorrama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261123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Drink | Ahorrama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4301028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Drink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277316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Spoo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3166102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Spoon | Ahorrama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9283591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Spoon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4396992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Yogur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2369073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Yogurt | Ahorrama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1082293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Yogur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8513635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6414862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 Ahorrama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2422651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Yogur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5451130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3409290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Drink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1920318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Drink | Ahorrama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8790365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Drink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8759388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Spoo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41975697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Spoon | Ahorrama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13063388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Spoon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Yopr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8136272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687435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 Ahorrama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9980521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34988653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Drink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8672827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Drink | Ahorrama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0118514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Protein Drink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Danone Group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58237">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358237">
                <a:tc>
                  <a:txBody>
                    <a:bodyPr/>
                    <a:lstStyle/>
                    <a:p>
                      <a:pPr algn="ctr">
                        <a:defRPr sz="800">
                          <a:latin typeface="Nexa Bold"/>
                        </a:defRPr>
                      </a:pPr>
                      <a:r>
                        <a:t>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358237">
                <a:tc>
                  <a:txBody>
                    <a:bodyPr/>
                    <a:lstStyle/>
                    <a:p>
                      <a:pPr algn="ctr">
                        <a:defRPr sz="800">
                          <a:latin typeface="Nexa Bold"/>
                        </a:defRPr>
                      </a:pPr>
                      <a:r>
                        <a:t>4-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358237">
                <a:tc>
                  <a:txBody>
                    <a:bodyPr/>
                    <a:lstStyle/>
                    <a:p>
                      <a:pPr algn="ctr">
                        <a:defRPr sz="800">
                          <a:latin typeface="Nexa Bold"/>
                        </a:defRPr>
                      </a:pPr>
                      <a:r>
                        <a:t>3-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358237">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358237">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358237">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358237">
                <a:tc>
                  <a:txBody>
                    <a:bodyPr/>
                    <a:lstStyle/>
                    <a:p>
                      <a:pPr algn="ctr">
                        <a:defRPr sz="800">
                          <a:latin typeface="Nexa Bold"/>
                        </a:defRPr>
                      </a:pPr>
                      <a:r>
                        <a:t>1-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358237">
                <a:tc>
                  <a:txBody>
                    <a:bodyPr/>
                    <a:lstStyle/>
                    <a:p>
                      <a:pPr algn="ctr">
                        <a:defRPr sz="800">
                          <a:latin typeface="Nexa Bold"/>
                        </a:defRPr>
                      </a:pPr>
                      <a:r>
                        <a:t>0-0.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8/2025</a:t>
            </a:fld>
            <a:endParaRPr lang="en-US" sz="500"/>
          </a:p>
        </p:txBody>
      </p:sp>
    </p:spTree>
    <p:extLst>
      <p:ext uri="{BB962C8B-B14F-4D97-AF65-F5344CB8AC3E}">
        <p14:creationId xmlns:p14="http://schemas.microsoft.com/office/powerpoint/2010/main" val="21958797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4</TotalTime>
  <Words>3292</Words>
  <Application>Microsoft Office PowerPoint</Application>
  <PresentationFormat>On-screen Show (16:9)</PresentationFormat>
  <Paragraphs>1156</Paragraphs>
  <Slides>3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5"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Raphaella ASHRAF</cp:lastModifiedBy>
  <cp:revision>64</cp:revision>
  <dcterms:created xsi:type="dcterms:W3CDTF">2024-07-05T11:30:58Z</dcterms:created>
  <dcterms:modified xsi:type="dcterms:W3CDTF">2025-07-08T07:0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